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6.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27.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38"/>
  </p:notesMasterIdLst>
  <p:handoutMasterIdLst>
    <p:handoutMasterId r:id="rId39"/>
  </p:handoutMasterIdLst>
  <p:sldIdLst>
    <p:sldId id="296" r:id="rId5"/>
    <p:sldId id="256" r:id="rId6"/>
    <p:sldId id="258" r:id="rId7"/>
    <p:sldId id="411" r:id="rId8"/>
    <p:sldId id="264" r:id="rId9"/>
    <p:sldId id="265" r:id="rId10"/>
    <p:sldId id="266" r:id="rId11"/>
    <p:sldId id="267" r:id="rId12"/>
    <p:sldId id="350" r:id="rId13"/>
    <p:sldId id="290" r:id="rId14"/>
    <p:sldId id="277" r:id="rId15"/>
    <p:sldId id="276" r:id="rId16"/>
    <p:sldId id="279" r:id="rId17"/>
    <p:sldId id="280" r:id="rId18"/>
    <p:sldId id="405" r:id="rId19"/>
    <p:sldId id="406" r:id="rId20"/>
    <p:sldId id="407" r:id="rId21"/>
    <p:sldId id="408" r:id="rId22"/>
    <p:sldId id="409" r:id="rId23"/>
    <p:sldId id="282" r:id="rId24"/>
    <p:sldId id="410" r:id="rId25"/>
    <p:sldId id="283" r:id="rId26"/>
    <p:sldId id="284" r:id="rId27"/>
    <p:sldId id="285" r:id="rId28"/>
    <p:sldId id="286" r:id="rId29"/>
    <p:sldId id="346" r:id="rId30"/>
    <p:sldId id="268" r:id="rId31"/>
    <p:sldId id="269" r:id="rId32"/>
    <p:sldId id="351" r:id="rId33"/>
    <p:sldId id="273" r:id="rId34"/>
    <p:sldId id="274" r:id="rId35"/>
    <p:sldId id="404" r:id="rId36"/>
    <p:sldId id="289" r:id="rId37"/>
  </p:sldIdLst>
  <p:sldSz cx="12192000" cy="6858000"/>
  <p:notesSz cx="6858000" cy="9144000"/>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56"/>
            <p14:sldId id="258"/>
            <p14:sldId id="411"/>
            <p14:sldId id="264"/>
            <p14:sldId id="265"/>
            <p14:sldId id="266"/>
            <p14:sldId id="267"/>
            <p14:sldId id="350"/>
            <p14:sldId id="290"/>
            <p14:sldId id="277"/>
            <p14:sldId id="276"/>
            <p14:sldId id="279"/>
            <p14:sldId id="280"/>
            <p14:sldId id="405"/>
            <p14:sldId id="406"/>
            <p14:sldId id="407"/>
            <p14:sldId id="408"/>
            <p14:sldId id="409"/>
            <p14:sldId id="282"/>
            <p14:sldId id="410"/>
            <p14:sldId id="283"/>
            <p14:sldId id="284"/>
            <p14:sldId id="285"/>
            <p14:sldId id="286"/>
            <p14:sldId id="346"/>
            <p14:sldId id="268"/>
            <p14:sldId id="269"/>
            <p14:sldId id="351"/>
            <p14:sldId id="273"/>
            <p14:sldId id="274"/>
          </p14:sldIdLst>
        </p14:section>
        <p14:section name="Graphic elements" id="{891EC914-4B3E-4CFE-A909-A820B43AB154}">
          <p14:sldIdLst>
            <p14:sldId id="404"/>
            <p14:sldId id="2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291" autoAdjust="0"/>
  </p:normalViewPr>
  <p:slideViewPr>
    <p:cSldViewPr>
      <p:cViewPr varScale="1">
        <p:scale>
          <a:sx n="74" d="100"/>
          <a:sy n="74" d="100"/>
        </p:scale>
        <p:origin x="576"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yupande\Desktop\MiniProject\ayush\finalProject.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month!$H$1</c:f>
              <c:strCache>
                <c:ptCount val="1"/>
                <c:pt idx="0">
                  <c:v>ratio</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val>
            <c:numRef>
              <c:f>month!$H$2:$H$13</c:f>
              <c:numCache>
                <c:formatCode>General</c:formatCode>
                <c:ptCount val="12"/>
                <c:pt idx="0">
                  <c:v>0.34482758620689657</c:v>
                </c:pt>
                <c:pt idx="1">
                  <c:v>0.37501704158145877</c:v>
                </c:pt>
                <c:pt idx="2">
                  <c:v>0.38232222255378828</c:v>
                </c:pt>
                <c:pt idx="3">
                  <c:v>0.37790478583092574</c:v>
                </c:pt>
                <c:pt idx="4">
                  <c:v>0.36917376125436396</c:v>
                </c:pt>
                <c:pt idx="5">
                  <c:v>0.36319605121085918</c:v>
                </c:pt>
                <c:pt idx="6">
                  <c:v>0.32360926418439717</c:v>
                </c:pt>
                <c:pt idx="7">
                  <c:v>0.3381355667364605</c:v>
                </c:pt>
                <c:pt idx="8">
                  <c:v>0.36503396496245977</c:v>
                </c:pt>
                <c:pt idx="9">
                  <c:v>0.37226827430293896</c:v>
                </c:pt>
                <c:pt idx="10">
                  <c:v>0.36153090060203957</c:v>
                </c:pt>
                <c:pt idx="11">
                  <c:v>0.29741360573788306</c:v>
                </c:pt>
              </c:numCache>
            </c:numRef>
          </c:val>
          <c:smooth val="0"/>
        </c:ser>
        <c:dLbls>
          <c:showLegendKey val="0"/>
          <c:showVal val="0"/>
          <c:showCatName val="0"/>
          <c:showSerName val="0"/>
          <c:showPercent val="0"/>
          <c:showBubbleSize val="0"/>
        </c:dLbls>
        <c:marker val="1"/>
        <c:smooth val="0"/>
        <c:axId val="501949656"/>
        <c:axId val="501949264"/>
      </c:lineChart>
      <c:catAx>
        <c:axId val="50194965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1949264"/>
        <c:crosses val="autoZero"/>
        <c:auto val="1"/>
        <c:lblAlgn val="ctr"/>
        <c:lblOffset val="100"/>
        <c:noMultiLvlLbl val="0"/>
      </c:catAx>
      <c:valAx>
        <c:axId val="5019492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19496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xmlns:c16r2="http://schemas.microsoft.com/office/drawing/2015/06/char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xmlns:c16r2="http://schemas.microsoft.com/office/drawing/2015/06/char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xmlns:c16r2="http://schemas.microsoft.com/office/drawing/2015/06/char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xmlns:c16r2="http://schemas.microsoft.com/office/drawing/2015/06/char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xmlns:c16r2="http://schemas.microsoft.com/office/drawing/2015/06/char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onth!$F$1</c:f>
              <c:strCache>
                <c:ptCount val="1"/>
                <c:pt idx="0">
                  <c:v>Month wise all projects</c:v>
                </c:pt>
              </c:strCache>
            </c:strRef>
          </c:tx>
          <c:spPr>
            <a:solidFill>
              <a:schemeClr val="accent2"/>
            </a:solidFill>
            <a:ln>
              <a:noFill/>
            </a:ln>
            <a:effectLst/>
          </c:spPr>
          <c:invertIfNegative val="0"/>
          <c:val>
            <c:numRef>
              <c:f>month!$F$2:$F$13</c:f>
              <c:numCache>
                <c:formatCode>General</c:formatCode>
                <c:ptCount val="12"/>
                <c:pt idx="0">
                  <c:v>27492</c:v>
                </c:pt>
                <c:pt idx="1">
                  <c:v>29340</c:v>
                </c:pt>
                <c:pt idx="2">
                  <c:v>33511</c:v>
                </c:pt>
                <c:pt idx="3">
                  <c:v>31844</c:v>
                </c:pt>
                <c:pt idx="4">
                  <c:v>32654</c:v>
                </c:pt>
                <c:pt idx="5">
                  <c:v>32415</c:v>
                </c:pt>
                <c:pt idx="6">
                  <c:v>36096</c:v>
                </c:pt>
                <c:pt idx="7">
                  <c:v>31999</c:v>
                </c:pt>
                <c:pt idx="8">
                  <c:v>30767</c:v>
                </c:pt>
                <c:pt idx="9">
                  <c:v>33175</c:v>
                </c:pt>
                <c:pt idx="10">
                  <c:v>32556</c:v>
                </c:pt>
                <c:pt idx="11">
                  <c:v>23005</c:v>
                </c:pt>
              </c:numCache>
            </c:numRef>
          </c:val>
        </c:ser>
        <c:ser>
          <c:idx val="1"/>
          <c:order val="1"/>
          <c:tx>
            <c:strRef>
              <c:f>month!$G$1</c:f>
              <c:strCache>
                <c:ptCount val="1"/>
                <c:pt idx="0">
                  <c:v>successful</c:v>
                </c:pt>
              </c:strCache>
            </c:strRef>
          </c:tx>
          <c:spPr>
            <a:solidFill>
              <a:schemeClr val="accent4"/>
            </a:solidFill>
            <a:ln>
              <a:noFill/>
            </a:ln>
            <a:effectLst/>
          </c:spPr>
          <c:invertIfNegative val="0"/>
          <c:val>
            <c:numRef>
              <c:f>month!$G$2:$G$13</c:f>
              <c:numCache>
                <c:formatCode>General</c:formatCode>
                <c:ptCount val="12"/>
                <c:pt idx="0">
                  <c:v>9480</c:v>
                </c:pt>
                <c:pt idx="1">
                  <c:v>11003</c:v>
                </c:pt>
                <c:pt idx="2">
                  <c:v>12812</c:v>
                </c:pt>
                <c:pt idx="3">
                  <c:v>12034</c:v>
                </c:pt>
                <c:pt idx="4">
                  <c:v>12055</c:v>
                </c:pt>
                <c:pt idx="5">
                  <c:v>11773</c:v>
                </c:pt>
                <c:pt idx="6">
                  <c:v>11681</c:v>
                </c:pt>
                <c:pt idx="7">
                  <c:v>10820</c:v>
                </c:pt>
                <c:pt idx="8">
                  <c:v>11231</c:v>
                </c:pt>
                <c:pt idx="9">
                  <c:v>12350</c:v>
                </c:pt>
                <c:pt idx="10">
                  <c:v>11770</c:v>
                </c:pt>
                <c:pt idx="11">
                  <c:v>6842</c:v>
                </c:pt>
              </c:numCache>
            </c:numRef>
          </c:val>
        </c:ser>
        <c:dLbls>
          <c:showLegendKey val="0"/>
          <c:showVal val="0"/>
          <c:showCatName val="0"/>
          <c:showSerName val="0"/>
          <c:showPercent val="0"/>
          <c:showBubbleSize val="0"/>
        </c:dLbls>
        <c:gapWidth val="219"/>
        <c:overlap val="-27"/>
        <c:axId val="502728280"/>
        <c:axId val="502727104"/>
      </c:barChart>
      <c:catAx>
        <c:axId val="502728280"/>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727104"/>
        <c:crosses val="autoZero"/>
        <c:auto val="1"/>
        <c:lblAlgn val="ctr"/>
        <c:lblOffset val="100"/>
        <c:noMultiLvlLbl val="0"/>
      </c:catAx>
      <c:valAx>
        <c:axId val="502727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72828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eekday!$F$1</c:f>
              <c:strCache>
                <c:ptCount val="1"/>
                <c:pt idx="0">
                  <c:v>total projects</c:v>
                </c:pt>
              </c:strCache>
            </c:strRef>
          </c:tx>
          <c:spPr>
            <a:solidFill>
              <a:schemeClr val="accent2"/>
            </a:solidFill>
            <a:ln>
              <a:noFill/>
            </a:ln>
            <a:effectLst/>
          </c:spPr>
          <c:invertIfNegative val="0"/>
          <c:val>
            <c:numRef>
              <c:f>weekday!$F$2:$F$8</c:f>
              <c:numCache>
                <c:formatCode>General</c:formatCode>
                <c:ptCount val="7"/>
                <c:pt idx="0">
                  <c:v>20758</c:v>
                </c:pt>
                <c:pt idx="1">
                  <c:v>60604</c:v>
                </c:pt>
                <c:pt idx="2">
                  <c:v>76618</c:v>
                </c:pt>
                <c:pt idx="3">
                  <c:v>66753</c:v>
                </c:pt>
                <c:pt idx="4">
                  <c:v>59985</c:v>
                </c:pt>
                <c:pt idx="5">
                  <c:v>57771</c:v>
                </c:pt>
                <c:pt idx="6">
                  <c:v>32365</c:v>
                </c:pt>
              </c:numCache>
            </c:numRef>
          </c:val>
        </c:ser>
        <c:ser>
          <c:idx val="1"/>
          <c:order val="1"/>
          <c:tx>
            <c:strRef>
              <c:f>weekday!$G$1</c:f>
              <c:strCache>
                <c:ptCount val="1"/>
                <c:pt idx="0">
                  <c:v>successful</c:v>
                </c:pt>
              </c:strCache>
            </c:strRef>
          </c:tx>
          <c:spPr>
            <a:solidFill>
              <a:schemeClr val="accent4"/>
            </a:solidFill>
            <a:ln>
              <a:noFill/>
            </a:ln>
            <a:effectLst/>
          </c:spPr>
          <c:invertIfNegative val="0"/>
          <c:val>
            <c:numRef>
              <c:f>weekday!$G$2:$G$8</c:f>
              <c:numCache>
                <c:formatCode>General</c:formatCode>
                <c:ptCount val="7"/>
                <c:pt idx="0">
                  <c:v>7387</c:v>
                </c:pt>
                <c:pt idx="1">
                  <c:v>21745</c:v>
                </c:pt>
                <c:pt idx="2">
                  <c:v>28763</c:v>
                </c:pt>
                <c:pt idx="3">
                  <c:v>24019</c:v>
                </c:pt>
                <c:pt idx="4">
                  <c:v>21351</c:v>
                </c:pt>
                <c:pt idx="5">
                  <c:v>19899</c:v>
                </c:pt>
                <c:pt idx="6">
                  <c:v>10687</c:v>
                </c:pt>
              </c:numCache>
            </c:numRef>
          </c:val>
        </c:ser>
        <c:dLbls>
          <c:showLegendKey val="0"/>
          <c:showVal val="0"/>
          <c:showCatName val="0"/>
          <c:showSerName val="0"/>
          <c:showPercent val="0"/>
          <c:showBubbleSize val="0"/>
        </c:dLbls>
        <c:gapWidth val="219"/>
        <c:overlap val="-27"/>
        <c:axId val="510034016"/>
        <c:axId val="510031272"/>
      </c:barChart>
      <c:catAx>
        <c:axId val="51003401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0031272"/>
        <c:crosses val="autoZero"/>
        <c:auto val="1"/>
        <c:lblAlgn val="ctr"/>
        <c:lblOffset val="100"/>
        <c:noMultiLvlLbl val="0"/>
      </c:catAx>
      <c:valAx>
        <c:axId val="510031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00340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839844206517522"/>
          <c:y val="8.98995323504196E-2"/>
          <c:w val="0.8916015095310984"/>
          <c:h val="0.7571501822793838"/>
        </c:manualLayout>
      </c:layout>
      <c:lineChart>
        <c:grouping val="standard"/>
        <c:varyColors val="0"/>
        <c:ser>
          <c:idx val="0"/>
          <c:order val="0"/>
          <c:tx>
            <c:strRef>
              <c:f>weekday!$H$1</c:f>
              <c:strCache>
                <c:ptCount val="1"/>
                <c:pt idx="0">
                  <c:v>ratio</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val>
            <c:numRef>
              <c:f>weekday!$H$2:$H$8</c:f>
              <c:numCache>
                <c:formatCode>General</c:formatCode>
                <c:ptCount val="7"/>
                <c:pt idx="0">
                  <c:v>0.35586279988438191</c:v>
                </c:pt>
                <c:pt idx="1">
                  <c:v>0.35880469935977821</c:v>
                </c:pt>
                <c:pt idx="2">
                  <c:v>0.37540786760291317</c:v>
                </c:pt>
                <c:pt idx="3">
                  <c:v>0.3598190343505161</c:v>
                </c:pt>
                <c:pt idx="4">
                  <c:v>0.35593898474618657</c:v>
                </c:pt>
                <c:pt idx="5">
                  <c:v>0.34444617541673156</c:v>
                </c:pt>
                <c:pt idx="6">
                  <c:v>0.33020237911323963</c:v>
                </c:pt>
              </c:numCache>
            </c:numRef>
          </c:val>
          <c:smooth val="0"/>
        </c:ser>
        <c:dLbls>
          <c:showLegendKey val="0"/>
          <c:showVal val="0"/>
          <c:showCatName val="0"/>
          <c:showSerName val="0"/>
          <c:showPercent val="0"/>
          <c:showBubbleSize val="0"/>
        </c:dLbls>
        <c:marker val="1"/>
        <c:smooth val="0"/>
        <c:axId val="502434824"/>
        <c:axId val="502434040"/>
      </c:lineChart>
      <c:catAx>
        <c:axId val="502434824"/>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434040"/>
        <c:crosses val="autoZero"/>
        <c:auto val="1"/>
        <c:lblAlgn val="ctr"/>
        <c:lblOffset val="100"/>
        <c:noMultiLvlLbl val="0"/>
      </c:catAx>
      <c:valAx>
        <c:axId val="502434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434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ayOfMonth!$F$1</c:f>
              <c:strCache>
                <c:ptCount val="1"/>
                <c:pt idx="0">
                  <c:v>total projects</c:v>
                </c:pt>
              </c:strCache>
            </c:strRef>
          </c:tx>
          <c:spPr>
            <a:solidFill>
              <a:schemeClr val="accent2"/>
            </a:solidFill>
            <a:ln>
              <a:noFill/>
            </a:ln>
            <a:effectLst/>
          </c:spPr>
          <c:invertIfNegative val="0"/>
          <c:val>
            <c:numRef>
              <c:f>dayOfMonth!$F$2:$F$32</c:f>
              <c:numCache>
                <c:formatCode>General</c:formatCode>
                <c:ptCount val="31"/>
                <c:pt idx="0">
                  <c:v>15772</c:v>
                </c:pt>
                <c:pt idx="1">
                  <c:v>13025</c:v>
                </c:pt>
                <c:pt idx="2">
                  <c:v>12511</c:v>
                </c:pt>
                <c:pt idx="3">
                  <c:v>12225</c:v>
                </c:pt>
                <c:pt idx="4">
                  <c:v>12274</c:v>
                </c:pt>
                <c:pt idx="5">
                  <c:v>12448</c:v>
                </c:pt>
                <c:pt idx="6">
                  <c:v>12556</c:v>
                </c:pt>
                <c:pt idx="7">
                  <c:v>12711</c:v>
                </c:pt>
                <c:pt idx="8">
                  <c:v>13196</c:v>
                </c:pt>
                <c:pt idx="9">
                  <c:v>12931</c:v>
                </c:pt>
                <c:pt idx="10">
                  <c:v>12882</c:v>
                </c:pt>
                <c:pt idx="11">
                  <c:v>12423</c:v>
                </c:pt>
                <c:pt idx="12">
                  <c:v>12332</c:v>
                </c:pt>
                <c:pt idx="13">
                  <c:v>12495</c:v>
                </c:pt>
                <c:pt idx="14">
                  <c:v>12989</c:v>
                </c:pt>
                <c:pt idx="15">
                  <c:v>12192</c:v>
                </c:pt>
                <c:pt idx="16">
                  <c:v>12217</c:v>
                </c:pt>
                <c:pt idx="17">
                  <c:v>12252</c:v>
                </c:pt>
                <c:pt idx="18">
                  <c:v>12255</c:v>
                </c:pt>
                <c:pt idx="19">
                  <c:v>12262</c:v>
                </c:pt>
                <c:pt idx="20">
                  <c:v>12500</c:v>
                </c:pt>
                <c:pt idx="21">
                  <c:v>11853</c:v>
                </c:pt>
                <c:pt idx="22">
                  <c:v>11594</c:v>
                </c:pt>
                <c:pt idx="23">
                  <c:v>11592</c:v>
                </c:pt>
                <c:pt idx="24">
                  <c:v>11187</c:v>
                </c:pt>
                <c:pt idx="25">
                  <c:v>11012</c:v>
                </c:pt>
                <c:pt idx="26">
                  <c:v>11203</c:v>
                </c:pt>
                <c:pt idx="27">
                  <c:v>11461</c:v>
                </c:pt>
                <c:pt idx="28">
                  <c:v>10670</c:v>
                </c:pt>
                <c:pt idx="29">
                  <c:v>10811</c:v>
                </c:pt>
                <c:pt idx="30">
                  <c:v>7023</c:v>
                </c:pt>
              </c:numCache>
            </c:numRef>
          </c:val>
        </c:ser>
        <c:ser>
          <c:idx val="1"/>
          <c:order val="1"/>
          <c:tx>
            <c:strRef>
              <c:f>dayOfMonth!$G$1</c:f>
              <c:strCache>
                <c:ptCount val="1"/>
                <c:pt idx="0">
                  <c:v>successful</c:v>
                </c:pt>
              </c:strCache>
            </c:strRef>
          </c:tx>
          <c:spPr>
            <a:solidFill>
              <a:schemeClr val="accent4"/>
            </a:solidFill>
            <a:ln>
              <a:noFill/>
            </a:ln>
            <a:effectLst/>
          </c:spPr>
          <c:invertIfNegative val="0"/>
          <c:val>
            <c:numRef>
              <c:f>dayOfMonth!$G$2:$G$32</c:f>
              <c:numCache>
                <c:formatCode>General</c:formatCode>
                <c:ptCount val="31"/>
                <c:pt idx="0">
                  <c:v>6420</c:v>
                </c:pt>
                <c:pt idx="1">
                  <c:v>4924</c:v>
                </c:pt>
                <c:pt idx="2">
                  <c:v>4569</c:v>
                </c:pt>
                <c:pt idx="3">
                  <c:v>4387</c:v>
                </c:pt>
                <c:pt idx="4">
                  <c:v>4336</c:v>
                </c:pt>
                <c:pt idx="5">
                  <c:v>4459</c:v>
                </c:pt>
                <c:pt idx="6">
                  <c:v>4581</c:v>
                </c:pt>
                <c:pt idx="7">
                  <c:v>4440</c:v>
                </c:pt>
                <c:pt idx="8">
                  <c:v>4486</c:v>
                </c:pt>
                <c:pt idx="9">
                  <c:v>4654</c:v>
                </c:pt>
                <c:pt idx="10">
                  <c:v>4412</c:v>
                </c:pt>
                <c:pt idx="11">
                  <c:v>4398</c:v>
                </c:pt>
                <c:pt idx="12">
                  <c:v>4384</c:v>
                </c:pt>
                <c:pt idx="13">
                  <c:v>4491</c:v>
                </c:pt>
                <c:pt idx="14">
                  <c:v>4770</c:v>
                </c:pt>
                <c:pt idx="15">
                  <c:v>4381</c:v>
                </c:pt>
                <c:pt idx="16">
                  <c:v>4338</c:v>
                </c:pt>
                <c:pt idx="17">
                  <c:v>4353</c:v>
                </c:pt>
                <c:pt idx="18">
                  <c:v>4426</c:v>
                </c:pt>
                <c:pt idx="19">
                  <c:v>4336</c:v>
                </c:pt>
                <c:pt idx="20">
                  <c:v>4454</c:v>
                </c:pt>
                <c:pt idx="21">
                  <c:v>4122</c:v>
                </c:pt>
                <c:pt idx="22">
                  <c:v>4019</c:v>
                </c:pt>
                <c:pt idx="23">
                  <c:v>4113</c:v>
                </c:pt>
                <c:pt idx="24">
                  <c:v>3985</c:v>
                </c:pt>
                <c:pt idx="25">
                  <c:v>3889</c:v>
                </c:pt>
                <c:pt idx="26">
                  <c:v>3835</c:v>
                </c:pt>
                <c:pt idx="27">
                  <c:v>3949</c:v>
                </c:pt>
                <c:pt idx="28">
                  <c:v>3710</c:v>
                </c:pt>
                <c:pt idx="29">
                  <c:v>3755</c:v>
                </c:pt>
                <c:pt idx="30">
                  <c:v>2475</c:v>
                </c:pt>
              </c:numCache>
            </c:numRef>
          </c:val>
        </c:ser>
        <c:dLbls>
          <c:showLegendKey val="0"/>
          <c:showVal val="0"/>
          <c:showCatName val="0"/>
          <c:showSerName val="0"/>
          <c:showPercent val="0"/>
          <c:showBubbleSize val="0"/>
        </c:dLbls>
        <c:gapWidth val="219"/>
        <c:overlap val="-27"/>
        <c:axId val="170344008"/>
        <c:axId val="170346360"/>
      </c:barChart>
      <c:catAx>
        <c:axId val="17034400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346360"/>
        <c:crosses val="autoZero"/>
        <c:auto val="1"/>
        <c:lblAlgn val="ctr"/>
        <c:lblOffset val="100"/>
        <c:noMultiLvlLbl val="0"/>
      </c:catAx>
      <c:valAx>
        <c:axId val="1703463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34400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yOfMonth!$H$1</c:f>
              <c:strCache>
                <c:ptCount val="1"/>
                <c:pt idx="0">
                  <c:v>ratio</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val>
            <c:numRef>
              <c:f>dayOfMonth!$H$2:$H$32</c:f>
              <c:numCache>
                <c:formatCode>General</c:formatCode>
                <c:ptCount val="31"/>
                <c:pt idx="0">
                  <c:v>0.40705046918589904</c:v>
                </c:pt>
                <c:pt idx="1">
                  <c:v>0.378042226487524</c:v>
                </c:pt>
                <c:pt idx="2">
                  <c:v>0.36519862520981539</c:v>
                </c:pt>
                <c:pt idx="3">
                  <c:v>0.35885480572597139</c:v>
                </c:pt>
                <c:pt idx="4">
                  <c:v>0.35326706860029328</c:v>
                </c:pt>
                <c:pt idx="5">
                  <c:v>0.35821015424164526</c:v>
                </c:pt>
                <c:pt idx="6">
                  <c:v>0.36484549219496654</c:v>
                </c:pt>
                <c:pt idx="7">
                  <c:v>0.34930375265518054</c:v>
                </c:pt>
                <c:pt idx="8">
                  <c:v>0.33995150045468325</c:v>
                </c:pt>
                <c:pt idx="9">
                  <c:v>0.35991029309411493</c:v>
                </c:pt>
                <c:pt idx="10">
                  <c:v>0.34249340164570719</c:v>
                </c:pt>
                <c:pt idx="11">
                  <c:v>0.35402076793045156</c:v>
                </c:pt>
                <c:pt idx="12">
                  <c:v>0.35549789166396367</c:v>
                </c:pt>
                <c:pt idx="13">
                  <c:v>0.35942376950780314</c:v>
                </c:pt>
                <c:pt idx="14">
                  <c:v>0.36723381322657633</c:v>
                </c:pt>
                <c:pt idx="15">
                  <c:v>0.35933398950131235</c:v>
                </c:pt>
                <c:pt idx="16">
                  <c:v>0.35507898829499879</c:v>
                </c:pt>
                <c:pt idx="17">
                  <c:v>0.35528893241919685</c:v>
                </c:pt>
                <c:pt idx="18">
                  <c:v>0.36115871073031414</c:v>
                </c:pt>
                <c:pt idx="19">
                  <c:v>0.35361278747349534</c:v>
                </c:pt>
                <c:pt idx="20">
                  <c:v>0.35632000000000003</c:v>
                </c:pt>
                <c:pt idx="21">
                  <c:v>0.34776006074411542</c:v>
                </c:pt>
                <c:pt idx="22">
                  <c:v>0.34664481628428495</c:v>
                </c:pt>
                <c:pt idx="23">
                  <c:v>0.35481366459627328</c:v>
                </c:pt>
                <c:pt idx="24">
                  <c:v>0.35621703763296686</c:v>
                </c:pt>
                <c:pt idx="25">
                  <c:v>0.3531601888848529</c:v>
                </c:pt>
                <c:pt idx="26">
                  <c:v>0.34231902169061856</c:v>
                </c:pt>
                <c:pt idx="27">
                  <c:v>0.34455981153477011</c:v>
                </c:pt>
                <c:pt idx="28">
                  <c:v>0.34770384254920339</c:v>
                </c:pt>
                <c:pt idx="29">
                  <c:v>0.34733142170012027</c:v>
                </c:pt>
                <c:pt idx="30">
                  <c:v>0.35241349850491244</c:v>
                </c:pt>
              </c:numCache>
            </c:numRef>
          </c:val>
          <c:smooth val="0"/>
        </c:ser>
        <c:dLbls>
          <c:showLegendKey val="0"/>
          <c:showVal val="0"/>
          <c:showCatName val="0"/>
          <c:showSerName val="0"/>
          <c:showPercent val="0"/>
          <c:showBubbleSize val="0"/>
        </c:dLbls>
        <c:marker val="1"/>
        <c:smooth val="0"/>
        <c:axId val="170359296"/>
        <c:axId val="170358904"/>
      </c:lineChart>
      <c:catAx>
        <c:axId val="17035929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358904"/>
        <c:crosses val="autoZero"/>
        <c:auto val="1"/>
        <c:lblAlgn val="ctr"/>
        <c:lblOffset val="100"/>
        <c:noMultiLvlLbl val="0"/>
      </c:catAx>
      <c:valAx>
        <c:axId val="1703589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3592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uration!$B$1</c:f>
              <c:strCache>
                <c:ptCount val="1"/>
              </c:strCache>
            </c:strRef>
          </c:tx>
          <c:spPr>
            <a:ln w="28575" cap="rnd">
              <a:solidFill>
                <a:schemeClr val="accent1"/>
              </a:solidFill>
              <a:round/>
            </a:ln>
            <a:effectLst/>
          </c:spPr>
          <c:marker>
            <c:symbol val="none"/>
          </c:marker>
          <c:val>
            <c:numRef>
              <c:f>Duration!$B$2:$B$94</c:f>
              <c:numCache>
                <c:formatCode>General</c:formatCode>
                <c:ptCount val="93"/>
                <c:pt idx="0">
                  <c:v>0</c:v>
                </c:pt>
                <c:pt idx="1">
                  <c:v>35</c:v>
                </c:pt>
                <c:pt idx="2">
                  <c:v>55</c:v>
                </c:pt>
                <c:pt idx="3">
                  <c:v>70</c:v>
                </c:pt>
                <c:pt idx="4">
                  <c:v>83</c:v>
                </c:pt>
                <c:pt idx="5">
                  <c:v>194</c:v>
                </c:pt>
                <c:pt idx="6">
                  <c:v>148</c:v>
                </c:pt>
                <c:pt idx="7">
                  <c:v>804</c:v>
                </c:pt>
                <c:pt idx="8">
                  <c:v>335</c:v>
                </c:pt>
                <c:pt idx="9">
                  <c:v>315</c:v>
                </c:pt>
                <c:pt idx="10">
                  <c:v>993</c:v>
                </c:pt>
                <c:pt idx="11">
                  <c:v>418</c:v>
                </c:pt>
                <c:pt idx="12">
                  <c:v>496</c:v>
                </c:pt>
                <c:pt idx="13">
                  <c:v>452</c:v>
                </c:pt>
                <c:pt idx="14">
                  <c:v>2079</c:v>
                </c:pt>
                <c:pt idx="15">
                  <c:v>2216</c:v>
                </c:pt>
                <c:pt idx="16">
                  <c:v>926</c:v>
                </c:pt>
                <c:pt idx="17">
                  <c:v>854</c:v>
                </c:pt>
                <c:pt idx="18">
                  <c:v>895</c:v>
                </c:pt>
                <c:pt idx="19">
                  <c:v>724</c:v>
                </c:pt>
                <c:pt idx="20">
                  <c:v>2726</c:v>
                </c:pt>
                <c:pt idx="21">
                  <c:v>3581</c:v>
                </c:pt>
                <c:pt idx="22">
                  <c:v>1537</c:v>
                </c:pt>
                <c:pt idx="23">
                  <c:v>1242</c:v>
                </c:pt>
                <c:pt idx="24">
                  <c:v>1347</c:v>
                </c:pt>
                <c:pt idx="25">
                  <c:v>2677</c:v>
                </c:pt>
                <c:pt idx="26">
                  <c:v>1344</c:v>
                </c:pt>
                <c:pt idx="27">
                  <c:v>1403</c:v>
                </c:pt>
                <c:pt idx="28">
                  <c:v>2602</c:v>
                </c:pt>
                <c:pt idx="29">
                  <c:v>2800</c:v>
                </c:pt>
                <c:pt idx="30">
                  <c:v>53029</c:v>
                </c:pt>
                <c:pt idx="31">
                  <c:v>6454</c:v>
                </c:pt>
                <c:pt idx="32">
                  <c:v>3711</c:v>
                </c:pt>
                <c:pt idx="33">
                  <c:v>2683</c:v>
                </c:pt>
                <c:pt idx="34">
                  <c:v>1743</c:v>
                </c:pt>
                <c:pt idx="35">
                  <c:v>3872</c:v>
                </c:pt>
                <c:pt idx="36">
                  <c:v>1620</c:v>
                </c:pt>
                <c:pt idx="37">
                  <c:v>1181</c:v>
                </c:pt>
                <c:pt idx="38">
                  <c:v>954</c:v>
                </c:pt>
                <c:pt idx="39">
                  <c:v>823</c:v>
                </c:pt>
                <c:pt idx="40">
                  <c:v>3284</c:v>
                </c:pt>
                <c:pt idx="41">
                  <c:v>804</c:v>
                </c:pt>
                <c:pt idx="42">
                  <c:v>820</c:v>
                </c:pt>
                <c:pt idx="43">
                  <c:v>600</c:v>
                </c:pt>
                <c:pt idx="44">
                  <c:v>638</c:v>
                </c:pt>
                <c:pt idx="45">
                  <c:v>5008</c:v>
                </c:pt>
                <c:pt idx="46">
                  <c:v>877</c:v>
                </c:pt>
                <c:pt idx="47">
                  <c:v>516</c:v>
                </c:pt>
                <c:pt idx="48">
                  <c:v>333</c:v>
                </c:pt>
                <c:pt idx="49">
                  <c:v>344</c:v>
                </c:pt>
                <c:pt idx="50">
                  <c:v>742</c:v>
                </c:pt>
                <c:pt idx="51">
                  <c:v>292</c:v>
                </c:pt>
                <c:pt idx="52">
                  <c:v>251</c:v>
                </c:pt>
                <c:pt idx="53">
                  <c:v>242</c:v>
                </c:pt>
                <c:pt idx="54">
                  <c:v>212</c:v>
                </c:pt>
                <c:pt idx="55">
                  <c:v>274</c:v>
                </c:pt>
                <c:pt idx="56">
                  <c:v>215</c:v>
                </c:pt>
                <c:pt idx="57">
                  <c:v>211</c:v>
                </c:pt>
                <c:pt idx="58">
                  <c:v>236</c:v>
                </c:pt>
                <c:pt idx="59">
                  <c:v>445</c:v>
                </c:pt>
                <c:pt idx="60">
                  <c:v>6217</c:v>
                </c:pt>
                <c:pt idx="61">
                  <c:v>284</c:v>
                </c:pt>
                <c:pt idx="62">
                  <c:v>104</c:v>
                </c:pt>
                <c:pt idx="63">
                  <c:v>59</c:v>
                </c:pt>
                <c:pt idx="64">
                  <c:v>42</c:v>
                </c:pt>
                <c:pt idx="65">
                  <c:v>49</c:v>
                </c:pt>
                <c:pt idx="66">
                  <c:v>49</c:v>
                </c:pt>
                <c:pt idx="67">
                  <c:v>39</c:v>
                </c:pt>
                <c:pt idx="68">
                  <c:v>29</c:v>
                </c:pt>
                <c:pt idx="69">
                  <c:v>25</c:v>
                </c:pt>
                <c:pt idx="70">
                  <c:v>43</c:v>
                </c:pt>
                <c:pt idx="71">
                  <c:v>43</c:v>
                </c:pt>
                <c:pt idx="72">
                  <c:v>36</c:v>
                </c:pt>
                <c:pt idx="73">
                  <c:v>21</c:v>
                </c:pt>
                <c:pt idx="74">
                  <c:v>20</c:v>
                </c:pt>
                <c:pt idx="75">
                  <c:v>33</c:v>
                </c:pt>
                <c:pt idx="76">
                  <c:v>31</c:v>
                </c:pt>
                <c:pt idx="77">
                  <c:v>21</c:v>
                </c:pt>
                <c:pt idx="78">
                  <c:v>19</c:v>
                </c:pt>
                <c:pt idx="79">
                  <c:v>16</c:v>
                </c:pt>
                <c:pt idx="80">
                  <c:v>27</c:v>
                </c:pt>
                <c:pt idx="81">
                  <c:v>20</c:v>
                </c:pt>
                <c:pt idx="82">
                  <c:v>20</c:v>
                </c:pt>
                <c:pt idx="83">
                  <c:v>18</c:v>
                </c:pt>
                <c:pt idx="84">
                  <c:v>19</c:v>
                </c:pt>
                <c:pt idx="85">
                  <c:v>18</c:v>
                </c:pt>
                <c:pt idx="86">
                  <c:v>25</c:v>
                </c:pt>
                <c:pt idx="87">
                  <c:v>18</c:v>
                </c:pt>
                <c:pt idx="88">
                  <c:v>36</c:v>
                </c:pt>
                <c:pt idx="89">
                  <c:v>137</c:v>
                </c:pt>
                <c:pt idx="90">
                  <c:v>425</c:v>
                </c:pt>
                <c:pt idx="91">
                  <c:v>138</c:v>
                </c:pt>
                <c:pt idx="92">
                  <c:v>5</c:v>
                </c:pt>
              </c:numCache>
            </c:numRef>
          </c:val>
          <c:smooth val="0"/>
        </c:ser>
        <c:dLbls>
          <c:showLegendKey val="0"/>
          <c:showVal val="0"/>
          <c:showCatName val="0"/>
          <c:showSerName val="0"/>
          <c:showPercent val="0"/>
          <c:showBubbleSize val="0"/>
        </c:dLbls>
        <c:smooth val="0"/>
        <c:axId val="503819800"/>
        <c:axId val="503820584"/>
      </c:lineChart>
      <c:catAx>
        <c:axId val="503819800"/>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3820584"/>
        <c:crosses val="autoZero"/>
        <c:auto val="1"/>
        <c:lblAlgn val="ctr"/>
        <c:lblOffset val="100"/>
        <c:noMultiLvlLbl val="0"/>
      </c:catAx>
      <c:valAx>
        <c:axId val="5038205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3819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918928121565937"/>
          <c:y val="2.1965952773201538E-3"/>
          <c:w val="0.62450443362367214"/>
          <c:h val="0.95167490389895659"/>
        </c:manualLayout>
      </c:layout>
      <c:pie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9"/>
            <c:bubble3D val="0"/>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0"/>
            <c:bubble3D val="0"/>
            <c:spPr>
              <a:gradFill rotWithShape="1">
                <a:gsLst>
                  <a:gs pos="0">
                    <a:schemeClr val="accent5">
                      <a:lumMod val="60000"/>
                      <a:satMod val="103000"/>
                      <a:lumMod val="102000"/>
                      <a:tint val="94000"/>
                    </a:schemeClr>
                  </a:gs>
                  <a:gs pos="50000">
                    <a:schemeClr val="accent5">
                      <a:lumMod val="60000"/>
                      <a:satMod val="110000"/>
                      <a:lumMod val="100000"/>
                      <a:shade val="100000"/>
                    </a:schemeClr>
                  </a:gs>
                  <a:gs pos="100000">
                    <a:schemeClr val="accent5">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1"/>
            <c:bubble3D val="0"/>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2"/>
            <c:bubble3D val="0"/>
            <c:spPr>
              <a:gradFill rotWithShape="1">
                <a:gsLst>
                  <a:gs pos="0">
                    <a:schemeClr val="accent1">
                      <a:lumMod val="80000"/>
                      <a:lumOff val="20000"/>
                      <a:satMod val="103000"/>
                      <a:lumMod val="102000"/>
                      <a:tint val="94000"/>
                    </a:schemeClr>
                  </a:gs>
                  <a:gs pos="50000">
                    <a:schemeClr val="accent1">
                      <a:lumMod val="80000"/>
                      <a:lumOff val="20000"/>
                      <a:satMod val="110000"/>
                      <a:lumMod val="100000"/>
                      <a:shade val="100000"/>
                    </a:schemeClr>
                  </a:gs>
                  <a:gs pos="100000">
                    <a:schemeClr val="accent1">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3"/>
            <c:bubble3D val="0"/>
            <c:spPr>
              <a:gradFill rotWithShape="1">
                <a:gsLst>
                  <a:gs pos="0">
                    <a:schemeClr val="accent2">
                      <a:lumMod val="80000"/>
                      <a:lumOff val="20000"/>
                      <a:satMod val="103000"/>
                      <a:lumMod val="102000"/>
                      <a:tint val="94000"/>
                    </a:schemeClr>
                  </a:gs>
                  <a:gs pos="50000">
                    <a:schemeClr val="accent2">
                      <a:lumMod val="80000"/>
                      <a:lumOff val="20000"/>
                      <a:satMod val="110000"/>
                      <a:lumMod val="100000"/>
                      <a:shade val="100000"/>
                    </a:schemeClr>
                  </a:gs>
                  <a:gs pos="100000">
                    <a:schemeClr val="accent2">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4"/>
            <c:bubble3D val="0"/>
            <c:spPr>
              <a:gradFill rotWithShape="1">
                <a:gsLst>
                  <a:gs pos="0">
                    <a:schemeClr val="accent3">
                      <a:lumMod val="80000"/>
                      <a:lumOff val="20000"/>
                      <a:satMod val="103000"/>
                      <a:lumMod val="102000"/>
                      <a:tint val="94000"/>
                    </a:schemeClr>
                  </a:gs>
                  <a:gs pos="50000">
                    <a:schemeClr val="accent3">
                      <a:lumMod val="80000"/>
                      <a:lumOff val="20000"/>
                      <a:satMod val="110000"/>
                      <a:lumMod val="100000"/>
                      <a:shade val="100000"/>
                    </a:schemeClr>
                  </a:gs>
                  <a:gs pos="100000">
                    <a:schemeClr val="accent3">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5"/>
            <c:bubble3D val="0"/>
            <c:spPr>
              <a:gradFill rotWithShape="1">
                <a:gsLst>
                  <a:gs pos="0">
                    <a:schemeClr val="accent4">
                      <a:lumMod val="80000"/>
                      <a:lumOff val="20000"/>
                      <a:satMod val="103000"/>
                      <a:lumMod val="102000"/>
                      <a:tint val="94000"/>
                    </a:schemeClr>
                  </a:gs>
                  <a:gs pos="50000">
                    <a:schemeClr val="accent4">
                      <a:lumMod val="80000"/>
                      <a:lumOff val="20000"/>
                      <a:satMod val="110000"/>
                      <a:lumMod val="100000"/>
                      <a:shade val="100000"/>
                    </a:schemeClr>
                  </a:gs>
                  <a:gs pos="100000">
                    <a:schemeClr val="accent4">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6"/>
            <c:bubble3D val="0"/>
            <c:spPr>
              <a:gradFill rotWithShape="1">
                <a:gsLst>
                  <a:gs pos="0">
                    <a:schemeClr val="accent5">
                      <a:lumMod val="80000"/>
                      <a:lumOff val="20000"/>
                      <a:satMod val="103000"/>
                      <a:lumMod val="102000"/>
                      <a:tint val="94000"/>
                    </a:schemeClr>
                  </a:gs>
                  <a:gs pos="50000">
                    <a:schemeClr val="accent5">
                      <a:lumMod val="80000"/>
                      <a:lumOff val="20000"/>
                      <a:satMod val="110000"/>
                      <a:lumMod val="100000"/>
                      <a:shade val="100000"/>
                    </a:schemeClr>
                  </a:gs>
                  <a:gs pos="100000">
                    <a:schemeClr val="accent5">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7"/>
            <c:bubble3D val="0"/>
            <c:spPr>
              <a:gradFill rotWithShape="1">
                <a:gsLst>
                  <a:gs pos="0">
                    <a:schemeClr val="accent6">
                      <a:lumMod val="80000"/>
                      <a:lumOff val="20000"/>
                      <a:satMod val="103000"/>
                      <a:lumMod val="102000"/>
                      <a:tint val="94000"/>
                    </a:schemeClr>
                  </a:gs>
                  <a:gs pos="50000">
                    <a:schemeClr val="accent6">
                      <a:lumMod val="80000"/>
                      <a:lumOff val="20000"/>
                      <a:satMod val="110000"/>
                      <a:lumMod val="100000"/>
                      <a:shade val="100000"/>
                    </a:schemeClr>
                  </a:gs>
                  <a:gs pos="100000">
                    <a:schemeClr val="accent6">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8"/>
            <c:bubble3D val="0"/>
            <c:spPr>
              <a:gradFill rotWithShape="1">
                <a:gsLst>
                  <a:gs pos="0">
                    <a:schemeClr val="accent1">
                      <a:lumMod val="80000"/>
                      <a:satMod val="103000"/>
                      <a:lumMod val="102000"/>
                      <a:tint val="94000"/>
                    </a:schemeClr>
                  </a:gs>
                  <a:gs pos="50000">
                    <a:schemeClr val="accent1">
                      <a:lumMod val="80000"/>
                      <a:satMod val="110000"/>
                      <a:lumMod val="100000"/>
                      <a:shade val="100000"/>
                    </a:schemeClr>
                  </a:gs>
                  <a:gs pos="100000">
                    <a:schemeClr val="accent1">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19"/>
            <c:bubble3D val="0"/>
            <c:spPr>
              <a:gradFill rotWithShape="1">
                <a:gsLst>
                  <a:gs pos="0">
                    <a:schemeClr val="accent2">
                      <a:lumMod val="80000"/>
                      <a:satMod val="103000"/>
                      <a:lumMod val="102000"/>
                      <a:tint val="94000"/>
                    </a:schemeClr>
                  </a:gs>
                  <a:gs pos="50000">
                    <a:schemeClr val="accent2">
                      <a:lumMod val="80000"/>
                      <a:satMod val="110000"/>
                      <a:lumMod val="100000"/>
                      <a:shade val="100000"/>
                    </a:schemeClr>
                  </a:gs>
                  <a:gs pos="100000">
                    <a:schemeClr val="accent2">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20"/>
            <c:bubble3D val="0"/>
            <c:spPr>
              <a:gradFill rotWithShape="1">
                <a:gsLst>
                  <a:gs pos="0">
                    <a:schemeClr val="accent3">
                      <a:lumMod val="80000"/>
                      <a:satMod val="103000"/>
                      <a:lumMod val="102000"/>
                      <a:tint val="94000"/>
                    </a:schemeClr>
                  </a:gs>
                  <a:gs pos="50000">
                    <a:schemeClr val="accent3">
                      <a:lumMod val="80000"/>
                      <a:satMod val="110000"/>
                      <a:lumMod val="100000"/>
                      <a:shade val="100000"/>
                    </a:schemeClr>
                  </a:gs>
                  <a:gs pos="100000">
                    <a:schemeClr val="accent3">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Pt>
            <c:idx val="21"/>
            <c:bubble3D val="0"/>
            <c:spPr>
              <a:gradFill rotWithShape="1">
                <a:gsLst>
                  <a:gs pos="0">
                    <a:schemeClr val="accent4">
                      <a:lumMod val="80000"/>
                      <a:satMod val="103000"/>
                      <a:lumMod val="102000"/>
                      <a:tint val="94000"/>
                    </a:schemeClr>
                  </a:gs>
                  <a:gs pos="50000">
                    <a:schemeClr val="accent4">
                      <a:lumMod val="80000"/>
                      <a:satMod val="110000"/>
                      <a:lumMod val="100000"/>
                      <a:shade val="100000"/>
                    </a:schemeClr>
                  </a:gs>
                  <a:gs pos="100000">
                    <a:schemeClr val="accent4">
                      <a:lumMod val="80000"/>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ountry!$K$2:$K$23</c:f>
              <c:strCache>
                <c:ptCount val="22"/>
                <c:pt idx="0">
                  <c:v>JP</c:v>
                </c:pt>
                <c:pt idx="1">
                  <c:v>HK</c:v>
                </c:pt>
                <c:pt idx="2">
                  <c:v>SE</c:v>
                </c:pt>
                <c:pt idx="3">
                  <c:v>DK</c:v>
                </c:pt>
                <c:pt idx="4">
                  <c:v>NO</c:v>
                </c:pt>
                <c:pt idx="5">
                  <c:v>MX</c:v>
                </c:pt>
                <c:pt idx="6">
                  <c:v>AT</c:v>
                </c:pt>
                <c:pt idx="7">
                  <c:v>CH</c:v>
                </c:pt>
                <c:pt idx="8">
                  <c:v>SG</c:v>
                </c:pt>
                <c:pt idx="9">
                  <c:v>NL</c:v>
                </c:pt>
                <c:pt idx="10">
                  <c:v>DE</c:v>
                </c:pt>
                <c:pt idx="11">
                  <c:v>FR</c:v>
                </c:pt>
                <c:pt idx="12">
                  <c:v>IT</c:v>
                </c:pt>
                <c:pt idx="13">
                  <c:v>AU</c:v>
                </c:pt>
                <c:pt idx="14">
                  <c:v>US</c:v>
                </c:pt>
                <c:pt idx="15">
                  <c:v>CA</c:v>
                </c:pt>
                <c:pt idx="16">
                  <c:v>BE</c:v>
                </c:pt>
                <c:pt idx="17">
                  <c:v>NZ</c:v>
                </c:pt>
                <c:pt idx="18">
                  <c:v>ES</c:v>
                </c:pt>
                <c:pt idx="19">
                  <c:v>LU</c:v>
                </c:pt>
                <c:pt idx="20">
                  <c:v>IE</c:v>
                </c:pt>
                <c:pt idx="21">
                  <c:v>GB</c:v>
                </c:pt>
              </c:strCache>
            </c:strRef>
          </c:cat>
          <c:val>
            <c:numRef>
              <c:f>country!$I$2:$I$23</c:f>
              <c:numCache>
                <c:formatCode>General</c:formatCode>
                <c:ptCount val="22"/>
                <c:pt idx="0">
                  <c:v>5592.54</c:v>
                </c:pt>
                <c:pt idx="1">
                  <c:v>2895.64</c:v>
                </c:pt>
                <c:pt idx="2">
                  <c:v>19596.37</c:v>
                </c:pt>
                <c:pt idx="3">
                  <c:v>17826.349999999999</c:v>
                </c:pt>
                <c:pt idx="4">
                  <c:v>11897.03</c:v>
                </c:pt>
                <c:pt idx="5">
                  <c:v>4789.66</c:v>
                </c:pt>
                <c:pt idx="6">
                  <c:v>77311.710000000006</c:v>
                </c:pt>
                <c:pt idx="7">
                  <c:v>60051.519999999997</c:v>
                </c:pt>
                <c:pt idx="8">
                  <c:v>27262.41</c:v>
                </c:pt>
                <c:pt idx="9">
                  <c:v>39939.89</c:v>
                </c:pt>
                <c:pt idx="10">
                  <c:v>35262.269999999997</c:v>
                </c:pt>
                <c:pt idx="11">
                  <c:v>33004.800000000003</c:v>
                </c:pt>
                <c:pt idx="12">
                  <c:v>26841.58</c:v>
                </c:pt>
                <c:pt idx="13">
                  <c:v>16169.77</c:v>
                </c:pt>
                <c:pt idx="14">
                  <c:v>23213.216102292499</c:v>
                </c:pt>
                <c:pt idx="15">
                  <c:v>17311.96</c:v>
                </c:pt>
                <c:pt idx="16">
                  <c:v>24166.61</c:v>
                </c:pt>
                <c:pt idx="17">
                  <c:v>2109.1999999999998</c:v>
                </c:pt>
                <c:pt idx="18">
                  <c:v>20379.900000000001</c:v>
                </c:pt>
                <c:pt idx="19">
                  <c:v>19141.060000000001</c:v>
                </c:pt>
                <c:pt idx="20">
                  <c:v>15637.72</c:v>
                </c:pt>
                <c:pt idx="21">
                  <c:v>14253.13</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54107033639143731"/>
          <c:y val="0"/>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manualLayout>
          <c:layoutTarget val="inner"/>
          <c:xMode val="edge"/>
          <c:yMode val="edge"/>
          <c:x val="0"/>
          <c:y val="0"/>
          <c:w val="0.6820968212306795"/>
          <c:h val="1"/>
        </c:manualLayout>
      </c:layout>
      <c:doughnutChart>
        <c:varyColors val="1"/>
        <c:ser>
          <c:idx val="0"/>
          <c:order val="0"/>
          <c:tx>
            <c:strRef>
              <c:f>country!$D$1</c:f>
              <c:strCache>
                <c:ptCount val="1"/>
                <c:pt idx="0">
                  <c:v>avg backers</c:v>
                </c:pt>
              </c:strCache>
            </c:strRef>
          </c:tx>
          <c:explosion val="24"/>
          <c:dPt>
            <c:idx val="0"/>
            <c:bubble3D val="0"/>
            <c:spPr>
              <a:solidFill>
                <a:schemeClr val="accent1"/>
              </a:solidFill>
              <a:ln>
                <a:noFill/>
              </a:ln>
              <a:effectLst>
                <a:outerShdw blurRad="317500" algn="ctr" rotWithShape="0">
                  <a:prstClr val="black">
                    <a:alpha val="25000"/>
                  </a:prstClr>
                </a:outerShdw>
              </a:effectLst>
            </c:spPr>
          </c:dPt>
          <c:dPt>
            <c:idx val="1"/>
            <c:bubble3D val="0"/>
            <c:spPr>
              <a:solidFill>
                <a:schemeClr val="accent2"/>
              </a:solidFill>
              <a:ln>
                <a:noFill/>
              </a:ln>
              <a:effectLst>
                <a:outerShdw blurRad="317500" algn="ctr" rotWithShape="0">
                  <a:prstClr val="black">
                    <a:alpha val="25000"/>
                  </a:prstClr>
                </a:outerShdw>
              </a:effectLst>
            </c:spPr>
          </c:dPt>
          <c:dPt>
            <c:idx val="2"/>
            <c:bubble3D val="0"/>
            <c:spPr>
              <a:solidFill>
                <a:schemeClr val="accent3"/>
              </a:solidFill>
              <a:ln>
                <a:noFill/>
              </a:ln>
              <a:effectLst>
                <a:outerShdw blurRad="317500" algn="ctr" rotWithShape="0">
                  <a:prstClr val="black">
                    <a:alpha val="25000"/>
                  </a:prstClr>
                </a:outerShdw>
              </a:effectLst>
            </c:spPr>
          </c:dPt>
          <c:dPt>
            <c:idx val="3"/>
            <c:bubble3D val="0"/>
            <c:spPr>
              <a:solidFill>
                <a:schemeClr val="accent4"/>
              </a:solidFill>
              <a:ln>
                <a:noFill/>
              </a:ln>
              <a:effectLst>
                <a:outerShdw blurRad="317500" algn="ctr" rotWithShape="0">
                  <a:prstClr val="black">
                    <a:alpha val="25000"/>
                  </a:prstClr>
                </a:outerShdw>
              </a:effectLst>
            </c:spPr>
          </c:dPt>
          <c:dPt>
            <c:idx val="4"/>
            <c:bubble3D val="0"/>
            <c:spPr>
              <a:solidFill>
                <a:schemeClr val="accent5"/>
              </a:solidFill>
              <a:ln>
                <a:noFill/>
              </a:ln>
              <a:effectLst>
                <a:outerShdw blurRad="317500" algn="ctr" rotWithShape="0">
                  <a:prstClr val="black">
                    <a:alpha val="25000"/>
                  </a:prstClr>
                </a:outerShdw>
              </a:effectLst>
            </c:spPr>
          </c:dPt>
          <c:dPt>
            <c:idx val="5"/>
            <c:bubble3D val="0"/>
            <c:spPr>
              <a:solidFill>
                <a:schemeClr val="accent6"/>
              </a:solidFill>
              <a:ln>
                <a:noFill/>
              </a:ln>
              <a:effectLst>
                <a:outerShdw blurRad="317500" algn="ctr" rotWithShape="0">
                  <a:prstClr val="black">
                    <a:alpha val="25000"/>
                  </a:prstClr>
                </a:outerShdw>
              </a:effectLst>
            </c:spPr>
          </c:dPt>
          <c:dPt>
            <c:idx val="6"/>
            <c:bubble3D val="0"/>
            <c:spPr>
              <a:solidFill>
                <a:schemeClr val="accent1">
                  <a:lumMod val="60000"/>
                </a:schemeClr>
              </a:solidFill>
              <a:ln>
                <a:noFill/>
              </a:ln>
              <a:effectLst>
                <a:outerShdw blurRad="317500" algn="ctr" rotWithShape="0">
                  <a:prstClr val="black">
                    <a:alpha val="25000"/>
                  </a:prstClr>
                </a:outerShdw>
              </a:effectLst>
            </c:spPr>
          </c:dPt>
          <c:dPt>
            <c:idx val="7"/>
            <c:bubble3D val="0"/>
            <c:spPr>
              <a:solidFill>
                <a:schemeClr val="accent2">
                  <a:lumMod val="60000"/>
                </a:schemeClr>
              </a:solidFill>
              <a:ln>
                <a:noFill/>
              </a:ln>
              <a:effectLst>
                <a:outerShdw blurRad="317500" algn="ctr" rotWithShape="0">
                  <a:prstClr val="black">
                    <a:alpha val="25000"/>
                  </a:prstClr>
                </a:outerShdw>
              </a:effectLst>
            </c:spPr>
          </c:dPt>
          <c:dPt>
            <c:idx val="8"/>
            <c:bubble3D val="0"/>
            <c:spPr>
              <a:solidFill>
                <a:schemeClr val="accent3">
                  <a:lumMod val="60000"/>
                </a:schemeClr>
              </a:solidFill>
              <a:ln>
                <a:noFill/>
              </a:ln>
              <a:effectLst>
                <a:outerShdw blurRad="317500" algn="ctr" rotWithShape="0">
                  <a:prstClr val="black">
                    <a:alpha val="25000"/>
                  </a:prstClr>
                </a:outerShdw>
              </a:effectLst>
            </c:spPr>
          </c:dPt>
          <c:dPt>
            <c:idx val="9"/>
            <c:bubble3D val="0"/>
            <c:spPr>
              <a:solidFill>
                <a:schemeClr val="accent4">
                  <a:lumMod val="60000"/>
                </a:schemeClr>
              </a:solidFill>
              <a:ln>
                <a:noFill/>
              </a:ln>
              <a:effectLst>
                <a:outerShdw blurRad="317500" algn="ctr" rotWithShape="0">
                  <a:prstClr val="black">
                    <a:alpha val="25000"/>
                  </a:prstClr>
                </a:outerShdw>
              </a:effectLst>
            </c:spPr>
          </c:dPt>
          <c:dPt>
            <c:idx val="10"/>
            <c:bubble3D val="0"/>
            <c:spPr>
              <a:solidFill>
                <a:schemeClr val="accent5">
                  <a:lumMod val="60000"/>
                </a:schemeClr>
              </a:solidFill>
              <a:ln>
                <a:noFill/>
              </a:ln>
              <a:effectLst>
                <a:outerShdw blurRad="317500" algn="ctr" rotWithShape="0">
                  <a:prstClr val="black">
                    <a:alpha val="25000"/>
                  </a:prstClr>
                </a:outerShdw>
              </a:effectLst>
            </c:spPr>
          </c:dPt>
          <c:dPt>
            <c:idx val="11"/>
            <c:bubble3D val="0"/>
            <c:spPr>
              <a:solidFill>
                <a:schemeClr val="accent6">
                  <a:lumMod val="60000"/>
                </a:schemeClr>
              </a:solidFill>
              <a:ln>
                <a:noFill/>
              </a:ln>
              <a:effectLst>
                <a:outerShdw blurRad="317500" algn="ctr" rotWithShape="0">
                  <a:prstClr val="black">
                    <a:alpha val="25000"/>
                  </a:prstClr>
                </a:outerShdw>
              </a:effectLst>
            </c:spPr>
          </c:dPt>
          <c:dPt>
            <c:idx val="12"/>
            <c:bubble3D val="0"/>
            <c:spPr>
              <a:solidFill>
                <a:schemeClr val="accent1">
                  <a:lumMod val="80000"/>
                  <a:lumOff val="20000"/>
                </a:schemeClr>
              </a:solidFill>
              <a:ln>
                <a:noFill/>
              </a:ln>
              <a:effectLst>
                <a:outerShdw blurRad="317500" algn="ctr" rotWithShape="0">
                  <a:prstClr val="black">
                    <a:alpha val="25000"/>
                  </a:prstClr>
                </a:outerShdw>
              </a:effectLst>
            </c:spPr>
          </c:dPt>
          <c:dPt>
            <c:idx val="13"/>
            <c:bubble3D val="0"/>
            <c:spPr>
              <a:solidFill>
                <a:schemeClr val="accent2">
                  <a:lumMod val="80000"/>
                  <a:lumOff val="20000"/>
                </a:schemeClr>
              </a:solidFill>
              <a:ln>
                <a:noFill/>
              </a:ln>
              <a:effectLst>
                <a:outerShdw blurRad="317500" algn="ctr" rotWithShape="0">
                  <a:prstClr val="black">
                    <a:alpha val="25000"/>
                  </a:prstClr>
                </a:outerShdw>
              </a:effectLst>
            </c:spPr>
          </c:dPt>
          <c:dPt>
            <c:idx val="14"/>
            <c:bubble3D val="0"/>
            <c:spPr>
              <a:solidFill>
                <a:schemeClr val="accent3">
                  <a:lumMod val="80000"/>
                  <a:lumOff val="20000"/>
                </a:schemeClr>
              </a:solidFill>
              <a:ln>
                <a:noFill/>
              </a:ln>
              <a:effectLst>
                <a:outerShdw blurRad="317500" algn="ctr" rotWithShape="0">
                  <a:prstClr val="black">
                    <a:alpha val="25000"/>
                  </a:prstClr>
                </a:outerShdw>
              </a:effectLst>
            </c:spPr>
          </c:dPt>
          <c:dPt>
            <c:idx val="15"/>
            <c:bubble3D val="0"/>
            <c:spPr>
              <a:solidFill>
                <a:schemeClr val="accent4">
                  <a:lumMod val="80000"/>
                  <a:lumOff val="20000"/>
                </a:schemeClr>
              </a:solidFill>
              <a:ln>
                <a:noFill/>
              </a:ln>
              <a:effectLst>
                <a:outerShdw blurRad="317500" algn="ctr" rotWithShape="0">
                  <a:prstClr val="black">
                    <a:alpha val="25000"/>
                  </a:prstClr>
                </a:outerShdw>
              </a:effectLst>
            </c:spPr>
          </c:dPt>
          <c:dPt>
            <c:idx val="16"/>
            <c:bubble3D val="0"/>
            <c:spPr>
              <a:solidFill>
                <a:schemeClr val="accent5">
                  <a:lumMod val="80000"/>
                  <a:lumOff val="20000"/>
                </a:schemeClr>
              </a:solidFill>
              <a:ln>
                <a:noFill/>
              </a:ln>
              <a:effectLst>
                <a:outerShdw blurRad="317500" algn="ctr" rotWithShape="0">
                  <a:prstClr val="black">
                    <a:alpha val="25000"/>
                  </a:prstClr>
                </a:outerShdw>
              </a:effectLst>
            </c:spPr>
          </c:dPt>
          <c:dPt>
            <c:idx val="17"/>
            <c:bubble3D val="0"/>
            <c:spPr>
              <a:solidFill>
                <a:schemeClr val="accent6">
                  <a:lumMod val="80000"/>
                  <a:lumOff val="20000"/>
                </a:schemeClr>
              </a:solidFill>
              <a:ln>
                <a:noFill/>
              </a:ln>
              <a:effectLst>
                <a:outerShdw blurRad="317500" algn="ctr" rotWithShape="0">
                  <a:prstClr val="black">
                    <a:alpha val="25000"/>
                  </a:prstClr>
                </a:outerShdw>
              </a:effectLst>
            </c:spPr>
          </c:dPt>
          <c:dPt>
            <c:idx val="18"/>
            <c:bubble3D val="0"/>
            <c:spPr>
              <a:solidFill>
                <a:schemeClr val="accent1">
                  <a:lumMod val="80000"/>
                </a:schemeClr>
              </a:solidFill>
              <a:ln>
                <a:noFill/>
              </a:ln>
              <a:effectLst>
                <a:outerShdw blurRad="317500" algn="ctr" rotWithShape="0">
                  <a:prstClr val="black">
                    <a:alpha val="25000"/>
                  </a:prstClr>
                </a:outerShdw>
              </a:effectLst>
            </c:spPr>
          </c:dPt>
          <c:dPt>
            <c:idx val="19"/>
            <c:bubble3D val="0"/>
            <c:spPr>
              <a:solidFill>
                <a:schemeClr val="accent2">
                  <a:lumMod val="80000"/>
                </a:schemeClr>
              </a:solidFill>
              <a:ln>
                <a:noFill/>
              </a:ln>
              <a:effectLst>
                <a:outerShdw blurRad="317500" algn="ctr" rotWithShape="0">
                  <a:prstClr val="black">
                    <a:alpha val="25000"/>
                  </a:prstClr>
                </a:outerShdw>
              </a:effectLst>
            </c:spPr>
          </c:dPt>
          <c:dPt>
            <c:idx val="20"/>
            <c:bubble3D val="0"/>
            <c:spPr>
              <a:solidFill>
                <a:schemeClr val="accent3">
                  <a:lumMod val="80000"/>
                </a:schemeClr>
              </a:solidFill>
              <a:ln>
                <a:noFill/>
              </a:ln>
              <a:effectLst>
                <a:outerShdw blurRad="317500" algn="ctr" rotWithShape="0">
                  <a:prstClr val="black">
                    <a:alpha val="25000"/>
                  </a:prstClr>
                </a:outerShdw>
              </a:effectLst>
            </c:spPr>
          </c:dPt>
          <c:dPt>
            <c:idx val="21"/>
            <c:bubble3D val="0"/>
            <c:spPr>
              <a:solidFill>
                <a:schemeClr val="accent4">
                  <a:lumMod val="80000"/>
                </a:schemeClr>
              </a:solidFill>
              <a:ln>
                <a:noFill/>
              </a:ln>
              <a:effectLst>
                <a:outerShdw blurRad="317500" algn="ctr" rotWithShape="0">
                  <a:prstClr val="black">
                    <a:alpha val="25000"/>
                  </a:prstClr>
                </a:outerShdw>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country!$K$2:$K$23</c:f>
              <c:strCache>
                <c:ptCount val="22"/>
                <c:pt idx="0">
                  <c:v>JP</c:v>
                </c:pt>
                <c:pt idx="1">
                  <c:v>HK</c:v>
                </c:pt>
                <c:pt idx="2">
                  <c:v>SE</c:v>
                </c:pt>
                <c:pt idx="3">
                  <c:v>DK</c:v>
                </c:pt>
                <c:pt idx="4">
                  <c:v>NO</c:v>
                </c:pt>
                <c:pt idx="5">
                  <c:v>MX</c:v>
                </c:pt>
                <c:pt idx="6">
                  <c:v>AT</c:v>
                </c:pt>
                <c:pt idx="7">
                  <c:v>CH</c:v>
                </c:pt>
                <c:pt idx="8">
                  <c:v>SG</c:v>
                </c:pt>
                <c:pt idx="9">
                  <c:v>NL</c:v>
                </c:pt>
                <c:pt idx="10">
                  <c:v>DE</c:v>
                </c:pt>
                <c:pt idx="11">
                  <c:v>FR</c:v>
                </c:pt>
                <c:pt idx="12">
                  <c:v>IT</c:v>
                </c:pt>
                <c:pt idx="13">
                  <c:v>AU</c:v>
                </c:pt>
                <c:pt idx="14">
                  <c:v>US</c:v>
                </c:pt>
                <c:pt idx="15">
                  <c:v>CA</c:v>
                </c:pt>
                <c:pt idx="16">
                  <c:v>BE</c:v>
                </c:pt>
                <c:pt idx="17">
                  <c:v>NZ</c:v>
                </c:pt>
                <c:pt idx="18">
                  <c:v>ES</c:v>
                </c:pt>
                <c:pt idx="19">
                  <c:v>LU</c:v>
                </c:pt>
                <c:pt idx="20">
                  <c:v>IE</c:v>
                </c:pt>
                <c:pt idx="21">
                  <c:v>GB</c:v>
                </c:pt>
              </c:strCache>
            </c:strRef>
          </c:cat>
          <c:val>
            <c:numRef>
              <c:f>country!$D$2:$D$23</c:f>
              <c:numCache>
                <c:formatCode>General</c:formatCode>
                <c:ptCount val="22"/>
                <c:pt idx="0">
                  <c:v>49.3333333333333</c:v>
                </c:pt>
                <c:pt idx="1">
                  <c:v>39.171641791044699</c:v>
                </c:pt>
                <c:pt idx="2">
                  <c:v>19.188301282051199</c:v>
                </c:pt>
                <c:pt idx="3">
                  <c:v>16.697211155378401</c:v>
                </c:pt>
                <c:pt idx="4">
                  <c:v>11.807692307692299</c:v>
                </c:pt>
                <c:pt idx="5">
                  <c:v>7.1342182890855401</c:v>
                </c:pt>
                <c:pt idx="6">
                  <c:v>15.4938775510204</c:v>
                </c:pt>
                <c:pt idx="7">
                  <c:v>16.239092495636999</c:v>
                </c:pt>
                <c:pt idx="8">
                  <c:v>28.368700265251899</c:v>
                </c:pt>
                <c:pt idx="9">
                  <c:v>17.011106175033301</c:v>
                </c:pt>
                <c:pt idx="10">
                  <c:v>20.0293753865182</c:v>
                </c:pt>
                <c:pt idx="11">
                  <c:v>23.3845396356474</c:v>
                </c:pt>
                <c:pt idx="12">
                  <c:v>17.510865108651</c:v>
                </c:pt>
                <c:pt idx="13">
                  <c:v>19.284268313604301</c:v>
                </c:pt>
                <c:pt idx="14">
                  <c:v>19.417932674736299</c:v>
                </c:pt>
                <c:pt idx="15">
                  <c:v>18.689229900207099</c:v>
                </c:pt>
                <c:pt idx="16">
                  <c:v>12.4430107526881</c:v>
                </c:pt>
                <c:pt idx="17">
                  <c:v>14.594594594594501</c:v>
                </c:pt>
                <c:pt idx="18">
                  <c:v>19.249439461883401</c:v>
                </c:pt>
                <c:pt idx="19">
                  <c:v>20.7209302325581</c:v>
                </c:pt>
                <c:pt idx="20">
                  <c:v>15.3228476821192</c:v>
                </c:pt>
                <c:pt idx="21">
                  <c:v>19.1176579495487</c:v>
                </c:pt>
              </c:numCache>
            </c:numRef>
          </c:val>
        </c:ser>
        <c:dLbls>
          <c:showLegendKey val="0"/>
          <c:showVal val="0"/>
          <c:showCatName val="1"/>
          <c:showSerName val="0"/>
          <c:showPercent val="1"/>
          <c:showBubbleSize val="0"/>
          <c:showLeaderLines val="1"/>
        </c:dLbls>
        <c:firstSliceAng val="0"/>
        <c:holeSize val="70"/>
      </c:doughnutChart>
      <c:spPr>
        <a:noFill/>
        <a:ln>
          <a:noFill/>
        </a:ln>
        <a:effectLst/>
      </c:spPr>
    </c:plotArea>
    <c:plotVisOnly val="1"/>
    <c:dispBlanksAs val="gap"/>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Tex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Tex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DC952EC8-E573-44C8-9CD8-D1233DEF8802}">
      <dgm:prSet phldrT="[Text]" custT="1"/>
      <dgm:spPr>
        <a:solidFill>
          <a:srgbClr val="2C004B"/>
        </a:solidFill>
        <a:ln w="57150">
          <a:solidFill>
            <a:srgbClr val="E6E7E7"/>
          </a:solidFill>
        </a:ln>
      </dgm:spPr>
      <dgm:t>
        <a:bodyPr/>
        <a:lstStyle/>
        <a:p>
          <a:r>
            <a:rPr lang="en-US" sz="1600" b="1" dirty="0"/>
            <a:t>Text</a:t>
          </a:r>
        </a:p>
      </dgm:t>
    </dgm:pt>
    <dgm:pt modelId="{666EDF3B-5DC9-4995-8BFF-491F3D5BD6B8}" type="parTrans" cxnId="{B9A430BE-8DF0-48AF-901C-42916C945F15}">
      <dgm:prSet/>
      <dgm:spPr/>
      <dgm:t>
        <a:bodyPr/>
        <a:lstStyle/>
        <a:p>
          <a:endParaRPr lang="en-US"/>
        </a:p>
      </dgm:t>
    </dgm:pt>
    <dgm:pt modelId="{DC6D4C1D-DD93-4C55-8FE4-6489B3423EBA}" type="sibTrans" cxnId="{B9A430BE-8DF0-48AF-901C-42916C945F15}">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3">
        <dgm:presLayoutVars>
          <dgm:chMax val="0"/>
          <dgm:chPref val="0"/>
          <dgm:bulletEnabled val="1"/>
        </dgm:presLayoutVars>
      </dgm:prSet>
      <dgm:spPr/>
      <dgm:t>
        <a:bodyPr/>
        <a:lstStyle/>
        <a:p>
          <a:endParaRPr lang="en-US"/>
        </a:p>
      </dgm:t>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3">
        <dgm:presLayoutVars>
          <dgm:chMax val="0"/>
          <dgm:chPref val="0"/>
          <dgm:bulletEnabled val="1"/>
        </dgm:presLayoutVars>
      </dgm:prSet>
      <dgm:spPr/>
      <dgm:t>
        <a:bodyPr/>
        <a:lstStyle/>
        <a:p>
          <a:endParaRPr lang="en-US"/>
        </a:p>
      </dgm:t>
    </dgm:pt>
    <dgm:pt modelId="{C804B756-E047-4785-B8DA-DAE96F276AFA}" type="pres">
      <dgm:prSet presAssocID="{3DC54720-E3D9-4A8D-A0C6-803A212DC7E8}" presName="parTxOnlySpace" presStyleCnt="0"/>
      <dgm:spPr/>
    </dgm:pt>
    <dgm:pt modelId="{8E7ECE7A-1B71-49BA-A774-E8E037F3F7EC}" type="pres">
      <dgm:prSet presAssocID="{DC952EC8-E573-44C8-9CD8-D1233DEF8802}" presName="parTxOnly" presStyleLbl="node1" presStyleIdx="2" presStyleCnt="3">
        <dgm:presLayoutVars>
          <dgm:chMax val="0"/>
          <dgm:chPref val="0"/>
          <dgm:bulletEnabled val="1"/>
        </dgm:presLayoutVars>
      </dgm:prSet>
      <dgm:spPr/>
      <dgm:t>
        <a:bodyPr/>
        <a:lstStyle/>
        <a:p>
          <a:endParaRPr lang="en-US"/>
        </a:p>
      </dgm:t>
    </dgm:pt>
  </dgm:ptLst>
  <dgm:cxnLst>
    <dgm:cxn modelId="{B9A430BE-8DF0-48AF-901C-42916C945F15}" srcId="{69DF67F0-A526-43B1-97B6-407776D45B13}" destId="{DC952EC8-E573-44C8-9CD8-D1233DEF8802}" srcOrd="2" destOrd="0" parTransId="{666EDF3B-5DC9-4995-8BFF-491F3D5BD6B8}" sibTransId="{DC6D4C1D-DD93-4C55-8FE4-6489B3423EBA}"/>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662B0A53-DA22-4ECB-AA63-D094E84F1CF7}" type="presOf" srcId="{DC952EC8-E573-44C8-9CD8-D1233DEF8802}" destId="{8E7ECE7A-1B71-49BA-A774-E8E037F3F7EC}" srcOrd="0" destOrd="0" presId="urn:microsoft.com/office/officeart/2005/8/layout/chevron1"/>
    <dgm:cxn modelId="{9E696252-CC77-4C6F-B289-E06A7FA47036}" srcId="{69DF67F0-A526-43B1-97B6-407776D45B13}" destId="{810FCF35-59A0-4E81-8C7A-A4B23D45DF0D}" srcOrd="1" destOrd="0" parTransId="{6BECCEC2-80F7-48CE-B6EF-F7DB702304A5}" sibTransId="{3DC54720-E3D9-4A8D-A0C6-803A212DC7E8}"/>
    <dgm:cxn modelId="{2F3ABBFC-650A-47FA-9888-8CC59BF6111D}" type="presOf" srcId="{69DF67F0-A526-43B1-97B6-407776D45B13}" destId="{B30FCBA3-0541-455F-84E1-1E2D01C9BDAB}" srcOrd="0" destOrd="0" presId="urn:microsoft.com/office/officeart/2005/8/layout/chevron1"/>
    <dgm:cxn modelId="{BBAE118B-82A5-499F-B362-74876FA9C7CE}" srcId="{69DF67F0-A526-43B1-97B6-407776D45B13}" destId="{85CAE54F-C913-4571-9706-C9930335C32E}" srcOrd="0" destOrd="0" parTransId="{EB516B1B-6121-4389-A83D-F7F6092084D3}" sibTransId="{D0C867EB-F811-4643-B41F-B745ECC80B6C}"/>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 modelId="{AA12F7E3-5CA6-477C-A84A-481C0CF332D8}" type="presParOf" srcId="{B30FCBA3-0541-455F-84E1-1E2D01C9BDAB}" destId="{C804B756-E047-4785-B8DA-DAE96F276AFA}" srcOrd="3" destOrd="0" presId="urn:microsoft.com/office/officeart/2005/8/layout/chevron1"/>
    <dgm:cxn modelId="{3741BA44-AF64-4F5E-A9F9-7F106D0D2B35}" type="presParOf" srcId="{B30FCBA3-0541-455F-84E1-1E2D01C9BDAB}" destId="{8E7ECE7A-1B71-49BA-A774-E8E037F3F7E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4/09/2019</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4/09/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1366265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2223461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1.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0.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9.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2.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xmlns=""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xmlns=""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xmlns=""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70"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mod="1">
    <p:ext uri="{DCECCB84-F9BA-43D5-87BE-67443E8EF086}">
      <p15:sldGuideLst xmlns:p15="http://schemas.microsoft.com/office/powerpoint/2012/main">
        <p15:guide id="1" pos="2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3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xmlns=""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xmlns=""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xmlns=""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xmlns=""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7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xmlns=""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7"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2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xmlns=""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smtClean="0"/>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2055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4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smtClean="0"/>
              <a:t>Click to edit Master title style</a:t>
            </a:r>
            <a:endParaRPr lang="en-GB" dirty="0"/>
          </a:p>
        </p:txBody>
      </p:sp>
      <p:sp>
        <p:nvSpPr>
          <p:cNvPr id="14" name="Text Placeholder 7">
            <a:extLst>
              <a:ext uri="{FF2B5EF4-FFF2-40B4-BE49-F238E27FC236}">
                <a16:creationId xmlns:a16="http://schemas.microsoft.com/office/drawing/2014/main" xmlns=""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xmlns=""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xmlns=""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xmlns=""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xmlns=""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xmlns=""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xmlns=""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xmlns=""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xmlns=""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xmlns=""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19475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5"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6.xml"/><Relationship Id="rId7" Type="http://schemas.openxmlformats.org/officeDocument/2006/relationships/vmlDrawing" Target="../drawings/vmlDrawing11.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1.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7.bin"/><Relationship Id="rId5" Type="http://schemas.openxmlformats.org/officeDocument/2006/relationships/tags" Target="../tags/tag18.xml"/><Relationship Id="rId4"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1"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xmlns=""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xmlns=""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xmlns=""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xmlns=""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xmlns=""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xmlns=""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xmlns=""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xmlns=""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xmlns=""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xmlns=""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xmlns=""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xmlns=""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xmlns=""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xmlns=""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2" r:id="rId7"/>
    <p:sldLayoutId id="2147483883" r:id="rId8"/>
    <p:sldLayoutId id="2147483821" r:id="rId9"/>
    <p:sldLayoutId id="214748387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72"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xmlns=""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xmlns=""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xmlns=""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xmlns=""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xmlns=""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xmlns=""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0"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xmlns=""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xmlns=""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xmlns=""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xmlns=""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xmlns=""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xmlns=""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6"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chart" Target="../charts/chart8.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chart" Target="../charts/chart9.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slideLayout" Target="../slideLayouts/slideLayout9.xml"/><Relationship Id="rId7" Type="http://schemas.openxmlformats.org/officeDocument/2006/relationships/chart" Target="../charts/chart11.xm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chart" Target="../charts/char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61B8B409-591E-4F4C-BDA2-E292A2B3E02A}"/>
              </a:ext>
            </a:extLst>
          </p:cNvPr>
          <p:cNvSpPr>
            <a:spLocks noGrp="1"/>
          </p:cNvSpPr>
          <p:nvPr>
            <p:ph type="body" sz="quarter" idx="11"/>
          </p:nvPr>
        </p:nvSpPr>
        <p:spPr/>
        <p:txBody>
          <a:bodyPr/>
          <a:lstStyle/>
          <a:p>
            <a:r>
              <a:rPr lang="en-US" dirty="0"/>
              <a:t>Title of the presentation</a:t>
            </a:r>
          </a:p>
        </p:txBody>
      </p:sp>
      <p:sp>
        <p:nvSpPr>
          <p:cNvPr id="3" name="Sous-titre 2">
            <a:extLst>
              <a:ext uri="{FF2B5EF4-FFF2-40B4-BE49-F238E27FC236}">
                <a16:creationId xmlns:a16="http://schemas.microsoft.com/office/drawing/2014/main" xmlns="" id="{B479E337-09CA-4F50-9067-64D4BC4D4C45}"/>
              </a:ext>
            </a:extLst>
          </p:cNvPr>
          <p:cNvSpPr>
            <a:spLocks noGrp="1"/>
          </p:cNvSpPr>
          <p:nvPr>
            <p:ph type="subTitle" idx="1"/>
          </p:nvPr>
        </p:nvSpPr>
        <p:spPr/>
        <p:txBody>
          <a:bodyPr/>
          <a:lstStyle/>
          <a:p>
            <a:r>
              <a:rPr lang="en-US" dirty="0"/>
              <a:t>Location, Date, Author</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0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xmlns=""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xmlns=""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xmlns=""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xmlns=""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xmlns=""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xmlns=""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xmlns=""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xmlns=""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xmlns=""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xmlns=""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xmlns=""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xmlns=""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xmlns=""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xmlns=""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xmlns=""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xmlns=""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xmlns=""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xmlns=""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xmlns=""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xmlns=""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xmlns=""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xmlns=""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xmlns=""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xmlns=""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xmlns=""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xmlns="" val="2607851620"/>
                    </a:ext>
                  </a:extLst>
                </a:gridCol>
                <a:gridCol w="1367397">
                  <a:extLst>
                    <a:ext uri="{9D8B030D-6E8A-4147-A177-3AD203B41FA5}">
                      <a16:colId xmlns:a16="http://schemas.microsoft.com/office/drawing/2014/main" xmlns="" val="1243403413"/>
                    </a:ext>
                  </a:extLst>
                </a:gridCol>
                <a:gridCol w="1367397">
                  <a:extLst>
                    <a:ext uri="{9D8B030D-6E8A-4147-A177-3AD203B41FA5}">
                      <a16:colId xmlns:a16="http://schemas.microsoft.com/office/drawing/2014/main" xmlns="" val="1389503925"/>
                    </a:ext>
                  </a:extLst>
                </a:gridCol>
                <a:gridCol w="1367397">
                  <a:extLst>
                    <a:ext uri="{9D8B030D-6E8A-4147-A177-3AD203B41FA5}">
                      <a16:colId xmlns:a16="http://schemas.microsoft.com/office/drawing/2014/main" xmlns="" val="3631262642"/>
                    </a:ext>
                  </a:extLst>
                </a:gridCol>
                <a:gridCol w="1367397">
                  <a:extLst>
                    <a:ext uri="{9D8B030D-6E8A-4147-A177-3AD203B41FA5}">
                      <a16:colId xmlns:a16="http://schemas.microsoft.com/office/drawing/2014/main" xmlns="" val="2121792064"/>
                    </a:ext>
                  </a:extLst>
                </a:gridCol>
                <a:gridCol w="1367397">
                  <a:extLst>
                    <a:ext uri="{9D8B030D-6E8A-4147-A177-3AD203B41FA5}">
                      <a16:colId xmlns:a16="http://schemas.microsoft.com/office/drawing/2014/main" xmlns="" val="2163038458"/>
                    </a:ext>
                  </a:extLst>
                </a:gridCol>
                <a:gridCol w="1367397">
                  <a:extLst>
                    <a:ext uri="{9D8B030D-6E8A-4147-A177-3AD203B41FA5}">
                      <a16:colId xmlns:a16="http://schemas.microsoft.com/office/drawing/2014/main" xmlns="" val="2134234959"/>
                    </a:ext>
                  </a:extLst>
                </a:gridCol>
                <a:gridCol w="1367397">
                  <a:extLst>
                    <a:ext uri="{9D8B030D-6E8A-4147-A177-3AD203B41FA5}">
                      <a16:colId xmlns:a16="http://schemas.microsoft.com/office/drawing/2014/main" xmlns=""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xmlns=""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xmlns=""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3542550040"/>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7916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164107"/>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164107"/>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79165"/>
            <a:ext cx="5341256" cy="1277067"/>
          </a:xfrm>
        </p:spPr>
        <p:txBody>
          <a:bodyPr/>
          <a:lstStyle/>
          <a:p>
            <a:r>
              <a:rPr lang="en-US" dirty="0"/>
              <a:t>Click to insert </a:t>
            </a:r>
            <a:r>
              <a:rPr lang="pt-PT" dirty="0"/>
              <a:t>text</a:t>
            </a:r>
          </a:p>
          <a:p>
            <a:endParaRPr lang="en-GB" dirty="0"/>
          </a:p>
        </p:txBody>
      </p:sp>
      <p:graphicFrame>
        <p:nvGraphicFramePr>
          <p:cNvPr id="12" name="Chart 11"/>
          <p:cNvGraphicFramePr>
            <a:graphicFrameLocks/>
          </p:cNvGraphicFramePr>
          <p:nvPr>
            <p:extLst>
              <p:ext uri="{D42A27DB-BD31-4B8C-83A1-F6EECF244321}">
                <p14:modId xmlns:p14="http://schemas.microsoft.com/office/powerpoint/2010/main" val="3711740482"/>
              </p:ext>
            </p:extLst>
          </p:nvPr>
        </p:nvGraphicFramePr>
        <p:xfrm>
          <a:off x="5823237" y="1908094"/>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p:cNvGraphicFramePr>
            <a:graphicFrameLocks/>
          </p:cNvGraphicFramePr>
          <p:nvPr>
            <p:extLst>
              <p:ext uri="{D42A27DB-BD31-4B8C-83A1-F6EECF244321}">
                <p14:modId xmlns:p14="http://schemas.microsoft.com/office/powerpoint/2010/main" val="4158483900"/>
              </p:ext>
            </p:extLst>
          </p:nvPr>
        </p:nvGraphicFramePr>
        <p:xfrm>
          <a:off x="611977" y="1908094"/>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7916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164107"/>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164107"/>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79165"/>
            <a:ext cx="5341256" cy="1277067"/>
          </a:xfrm>
        </p:spPr>
        <p:txBody>
          <a:bodyPr/>
          <a:lstStyle/>
          <a:p>
            <a:r>
              <a:rPr lang="en-US" dirty="0"/>
              <a:t>Click to insert </a:t>
            </a:r>
            <a:r>
              <a:rPr lang="pt-PT" dirty="0"/>
              <a:t>text</a:t>
            </a:r>
          </a:p>
          <a:p>
            <a:endParaRPr lang="en-GB" dirty="0"/>
          </a:p>
        </p:txBody>
      </p:sp>
      <p:graphicFrame>
        <p:nvGraphicFramePr>
          <p:cNvPr id="8" name="Chart 7"/>
          <p:cNvGraphicFramePr>
            <a:graphicFrameLocks/>
          </p:cNvGraphicFramePr>
          <p:nvPr>
            <p:extLst>
              <p:ext uri="{D42A27DB-BD31-4B8C-83A1-F6EECF244321}">
                <p14:modId xmlns:p14="http://schemas.microsoft.com/office/powerpoint/2010/main" val="1279327028"/>
              </p:ext>
            </p:extLst>
          </p:nvPr>
        </p:nvGraphicFramePr>
        <p:xfrm>
          <a:off x="381000" y="1723049"/>
          <a:ext cx="5187606" cy="292515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ext uri="{D42A27DB-BD31-4B8C-83A1-F6EECF244321}">
                <p14:modId xmlns:p14="http://schemas.microsoft.com/office/powerpoint/2010/main" val="972022610"/>
              </p:ext>
            </p:extLst>
          </p:nvPr>
        </p:nvGraphicFramePr>
        <p:xfrm>
          <a:off x="5486400" y="1713524"/>
          <a:ext cx="5133976" cy="293467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19912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10059651"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164107"/>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10" name="Chart 9"/>
          <p:cNvGraphicFramePr>
            <a:graphicFrameLocks/>
          </p:cNvGraphicFramePr>
          <p:nvPr>
            <p:extLst>
              <p:ext uri="{D42A27DB-BD31-4B8C-83A1-F6EECF244321}">
                <p14:modId xmlns:p14="http://schemas.microsoft.com/office/powerpoint/2010/main" val="384543783"/>
              </p:ext>
            </p:extLst>
          </p:nvPr>
        </p:nvGraphicFramePr>
        <p:xfrm>
          <a:off x="762000" y="1908094"/>
          <a:ext cx="9525000" cy="317107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Placeholder 2"/>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598203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10059651"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164107"/>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Chart 7"/>
          <p:cNvGraphicFramePr>
            <a:graphicFrameLocks/>
          </p:cNvGraphicFramePr>
          <p:nvPr>
            <p:extLst>
              <p:ext uri="{D42A27DB-BD31-4B8C-83A1-F6EECF244321}">
                <p14:modId xmlns:p14="http://schemas.microsoft.com/office/powerpoint/2010/main" val="2345918464"/>
              </p:ext>
            </p:extLst>
          </p:nvPr>
        </p:nvGraphicFramePr>
        <p:xfrm>
          <a:off x="2590800" y="1908094"/>
          <a:ext cx="7086600" cy="2819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612668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8" y="5079165"/>
            <a:ext cx="10059651"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164107"/>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6" name="Chart 5"/>
          <p:cNvGraphicFramePr>
            <a:graphicFrameLocks/>
          </p:cNvGraphicFramePr>
          <p:nvPr>
            <p:extLst>
              <p:ext uri="{D42A27DB-BD31-4B8C-83A1-F6EECF244321}">
                <p14:modId xmlns:p14="http://schemas.microsoft.com/office/powerpoint/2010/main" val="3433204650"/>
              </p:ext>
            </p:extLst>
          </p:nvPr>
        </p:nvGraphicFramePr>
        <p:xfrm>
          <a:off x="1524000" y="1908094"/>
          <a:ext cx="8991600" cy="304490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665963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463763947"/>
              </p:ext>
            </p:extLst>
          </p:nvPr>
        </p:nvGraphicFramePr>
        <p:xfrm>
          <a:off x="990599" y="1600202"/>
          <a:ext cx="9677402" cy="4495797"/>
        </p:xfrm>
        <a:graphic>
          <a:graphicData uri="http://schemas.openxmlformats.org/drawingml/2006/table">
            <a:tbl>
              <a:tblPr>
                <a:tableStyleId>{D03447BB-5D67-496B-8E87-E561075AD55C}</a:tableStyleId>
              </a:tblPr>
              <a:tblGrid>
                <a:gridCol w="1382486"/>
                <a:gridCol w="1382486"/>
                <a:gridCol w="1382486"/>
                <a:gridCol w="1382486"/>
                <a:gridCol w="1382486"/>
                <a:gridCol w="1382486"/>
                <a:gridCol w="1382486"/>
              </a:tblGrid>
              <a:tr h="235147">
                <a:tc>
                  <a:txBody>
                    <a:bodyPr/>
                    <a:lstStyle/>
                    <a:p>
                      <a:pPr algn="ctr" fontAlgn="b"/>
                      <a:r>
                        <a:rPr lang="en-US" sz="1100" b="0" i="0" u="none" strike="noStrike" dirty="0" smtClean="0">
                          <a:solidFill>
                            <a:srgbClr val="FFC000"/>
                          </a:solidFill>
                          <a:effectLst/>
                          <a:latin typeface="Calibri" panose="020F0502020204030204" pitchFamily="34" charset="0"/>
                        </a:rPr>
                        <a:t>DURATION</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solidFill>
                            <a:srgbClr val="FFC000"/>
                          </a:solidFill>
                          <a:effectLst/>
                        </a:rPr>
                        <a:t>goal</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smtClean="0">
                          <a:solidFill>
                            <a:srgbClr val="FFC000"/>
                          </a:solidFill>
                          <a:effectLst/>
                        </a:rPr>
                        <a:t>pledged</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solidFill>
                            <a:srgbClr val="FFC000"/>
                          </a:solidFill>
                          <a:effectLst/>
                        </a:rPr>
                        <a:t>goal</a:t>
                      </a:r>
                      <a:endParaRPr lang="en-US" sz="1100" b="0" i="0" u="none" strike="noStrike" dirty="0">
                        <a:solidFill>
                          <a:srgbClr val="FFC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err="1">
                          <a:solidFill>
                            <a:srgbClr val="FFC000"/>
                          </a:solidFill>
                          <a:effectLst/>
                        </a:rPr>
                        <a:t>pleadged</a:t>
                      </a:r>
                      <a:endParaRPr lang="en-US" sz="1100" b="0" i="0" u="none" strike="noStrike" dirty="0">
                        <a:solidFill>
                          <a:srgbClr val="FFC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715.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514.2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931.1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456.171</a:t>
                      </a:r>
                      <a:endParaRPr lang="en-US" sz="1100" b="0" i="0" u="none" strike="noStrike" dirty="0">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889.933</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430.1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875.1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8.0634</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109.9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020.04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67075.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44.368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02.5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1467.4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196.3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93.407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691.10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2082.0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1809.4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73.902</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41.10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104.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041.3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314.563</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635.2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624.7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462.1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44.94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03.85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135.5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2080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3.8873</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662.07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4329.7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586.4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169.59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631.28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23.65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72042.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26.8547</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113.39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6503.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9888.6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19.788</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98.549</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226.9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4819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5.0274</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608.2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126.9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4477.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34.672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2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816.25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8150.7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9365.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743.04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a:effectLst/>
                        </a:rPr>
                        <a:t>3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819.7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386.0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373.8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96.929</a:t>
                      </a:r>
                      <a:endParaRPr lang="en-US" sz="1100" b="0" i="0" u="none" strike="noStrike">
                        <a:solidFill>
                          <a:srgbClr val="000000"/>
                        </a:solidFill>
                        <a:effectLst/>
                        <a:latin typeface="Calibri" panose="020F0502020204030204" pitchFamily="34" charset="0"/>
                      </a:endParaRPr>
                    </a:p>
                  </a:txBody>
                  <a:tcPr marL="9525" marR="9525" marT="9525" marB="0" anchor="b"/>
                </a:tc>
              </a:tr>
              <a:tr h="235147">
                <a:tc>
                  <a:txBody>
                    <a:bodyPr/>
                    <a:lstStyle/>
                    <a:p>
                      <a:pPr algn="r" fontAlgn="b"/>
                      <a:r>
                        <a:rPr lang="en-US" sz="1100" u="none" strike="noStrike" dirty="0">
                          <a:effectLst/>
                        </a:rPr>
                        <a:t>14</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879.36</a:t>
                      </a:r>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5979.30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210.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8.1843</a:t>
                      </a:r>
                      <a:endParaRPr lang="en-US" sz="1100" b="0" i="0" u="none" strike="noStrike">
                        <a:solidFill>
                          <a:srgbClr val="000000"/>
                        </a:solidFill>
                        <a:effectLst/>
                        <a:latin typeface="Calibri" panose="020F0502020204030204" pitchFamily="34" charset="0"/>
                      </a:endParaRPr>
                    </a:p>
                  </a:txBody>
                  <a:tcPr marL="9525" marR="9525" marT="9525" marB="0" anchor="b"/>
                </a:tc>
              </a:tr>
              <a:tr h="49829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1" u="none" strike="noStrike" dirty="0" smtClean="0">
                          <a:solidFill>
                            <a:srgbClr val="FF0000"/>
                          </a:solidFill>
                          <a:effectLst/>
                        </a:rPr>
                        <a:t>MEDIAN</a:t>
                      </a:r>
                      <a:r>
                        <a:rPr lang="en-US" sz="1400" u="none" strike="noStrike" dirty="0" smtClean="0">
                          <a:effectLst/>
                        </a:rPr>
                        <a:t/>
                      </a:r>
                      <a:br>
                        <a:rPr lang="en-US" sz="1400" u="none" strike="noStrike" dirty="0" smtClean="0">
                          <a:effectLst/>
                        </a:rPr>
                      </a:br>
                      <a:r>
                        <a:rPr lang="en-US" sz="1400" u="none" strike="noStrike" dirty="0" smtClean="0">
                          <a:solidFill>
                            <a:srgbClr val="FFC000"/>
                          </a:solidFill>
                          <a:effectLst/>
                        </a:rPr>
                        <a:t>17.5</a:t>
                      </a:r>
                      <a:endParaRPr lang="en-US" sz="1400" b="0" i="0" u="none" strike="noStrike" dirty="0" smtClean="0">
                        <a:solidFill>
                          <a:srgbClr val="FFC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endParaRPr lang="en-US" sz="1400" u="none" strike="noStrike" dirty="0" smtClean="0">
                        <a:solidFill>
                          <a:srgbClr val="FFC000"/>
                        </a:solidFill>
                        <a:effectLst/>
                      </a:endParaRPr>
                    </a:p>
                    <a:p>
                      <a:pPr algn="r" fontAlgn="b"/>
                      <a:r>
                        <a:rPr lang="en-US" sz="1400" u="none" strike="noStrike" dirty="0" smtClean="0">
                          <a:solidFill>
                            <a:srgbClr val="FFC000"/>
                          </a:solidFill>
                          <a:effectLst/>
                        </a:rPr>
                        <a:t>4421.811</a:t>
                      </a: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11046.12</a:t>
                      </a:r>
                      <a:endParaRPr lang="en-US" sz="1400" b="1" i="0" u="none" strike="noStrike" dirty="0">
                        <a:solidFill>
                          <a:srgbClr val="FFC000"/>
                        </a:solidFill>
                        <a:effectLst/>
                        <a:latin typeface="Calibri" panose="020F0502020204030204" pitchFamily="34" charset="0"/>
                      </a:endParaRPr>
                    </a:p>
                  </a:txBody>
                  <a:tcPr marL="9525" marR="9525" marT="9525" marB="0" anchor="b"/>
                </a:tc>
                <a:tc>
                  <a:txBody>
                    <a:bodyPr/>
                    <a:lstStyle/>
                    <a:p>
                      <a:pPr algn="l" fontAlgn="b"/>
                      <a:endParaRPr lang="en-US" sz="14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42370.28</a:t>
                      </a:r>
                      <a:endParaRPr lang="en-US" sz="1400" b="1" i="0" u="none" strike="noStrike" dirty="0">
                        <a:solidFill>
                          <a:srgbClr val="FFC000"/>
                        </a:solidFill>
                        <a:effectLst/>
                        <a:latin typeface="Calibri" panose="020F0502020204030204" pitchFamily="34" charset="0"/>
                      </a:endParaRPr>
                    </a:p>
                  </a:txBody>
                  <a:tcPr marL="9525" marR="9525" marT="9525" marB="0" anchor="b"/>
                </a:tc>
                <a:tc>
                  <a:txBody>
                    <a:bodyPr/>
                    <a:lstStyle/>
                    <a:p>
                      <a:pPr algn="r" fontAlgn="b"/>
                      <a:r>
                        <a:rPr lang="en-US" sz="1400" b="1" i="1" u="none" strike="noStrike" dirty="0" smtClean="0">
                          <a:solidFill>
                            <a:srgbClr val="FF0000"/>
                          </a:solidFill>
                          <a:effectLst/>
                        </a:rPr>
                        <a:t>MEDIAN</a:t>
                      </a:r>
                    </a:p>
                    <a:p>
                      <a:pPr algn="r" fontAlgn="b"/>
                      <a:r>
                        <a:rPr lang="en-US" sz="1400" u="none" strike="noStrike" dirty="0" smtClean="0">
                          <a:solidFill>
                            <a:srgbClr val="FFC000"/>
                          </a:solidFill>
                          <a:effectLst/>
                        </a:rPr>
                        <a:t>961.505</a:t>
                      </a:r>
                      <a:endParaRPr lang="en-US" sz="1400" b="1" i="0" u="none" strike="noStrike" dirty="0">
                        <a:solidFill>
                          <a:srgbClr val="FFC000"/>
                        </a:solidFill>
                        <a:effectLst/>
                        <a:latin typeface="Calibri" panose="020F0502020204030204" pitchFamily="34" charset="0"/>
                      </a:endParaRPr>
                    </a:p>
                  </a:txBody>
                  <a:tcPr marL="9525" marR="9525" marT="9525" marB="0" anchor="b"/>
                </a:tc>
              </a:tr>
            </a:tbl>
          </a:graphicData>
        </a:graphic>
      </p:graphicFrame>
    </p:spTree>
    <p:extLst>
      <p:ext uri="{BB962C8B-B14F-4D97-AF65-F5344CB8AC3E}">
        <p14:creationId xmlns:p14="http://schemas.microsoft.com/office/powerpoint/2010/main" val="3778356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3" name="Subtitle 2"/>
          <p:cNvSpPr>
            <a:spLocks noGrp="1"/>
          </p:cNvSpPr>
          <p:nvPr>
            <p:ph type="subTitle" idx="1"/>
          </p:nvPr>
        </p:nvSpPr>
        <p:spPr/>
        <p:txBody>
          <a:bodyPr/>
          <a:lstStyle/>
          <a:p>
            <a:r>
              <a:rPr lang="en-US"/>
              <a:t>Location, Date, Author</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7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11125236" cy="685800"/>
          </a:xfrm>
        </p:spPr>
        <p:txBody>
          <a:bodyPr/>
          <a:lstStyle/>
          <a:p>
            <a:r>
              <a:rPr lang="en-US" dirty="0" smtClean="0"/>
              <a:t>Title</a:t>
            </a:r>
            <a:endParaRPr lang="en-GB" dirty="0"/>
          </a:p>
        </p:txBody>
      </p:sp>
      <p:graphicFrame>
        <p:nvGraphicFramePr>
          <p:cNvPr id="11" name="Chart 10"/>
          <p:cNvGraphicFramePr>
            <a:graphicFrameLocks/>
          </p:cNvGraphicFramePr>
          <p:nvPr>
            <p:extLst>
              <p:ext uri="{D42A27DB-BD31-4B8C-83A1-F6EECF244321}">
                <p14:modId xmlns:p14="http://schemas.microsoft.com/office/powerpoint/2010/main" val="3360965467"/>
              </p:ext>
            </p:extLst>
          </p:nvPr>
        </p:nvGraphicFramePr>
        <p:xfrm>
          <a:off x="-685800" y="152400"/>
          <a:ext cx="10819185" cy="67056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3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graphicFrame>
        <p:nvGraphicFramePr>
          <p:cNvPr id="7" name="Chart 6"/>
          <p:cNvGraphicFramePr>
            <a:graphicFrameLocks/>
          </p:cNvGraphicFramePr>
          <p:nvPr>
            <p:extLst>
              <p:ext uri="{D42A27DB-BD31-4B8C-83A1-F6EECF244321}">
                <p14:modId xmlns:p14="http://schemas.microsoft.com/office/powerpoint/2010/main" val="1049402152"/>
              </p:ext>
            </p:extLst>
          </p:nvPr>
        </p:nvGraphicFramePr>
        <p:xfrm>
          <a:off x="227348" y="1104900"/>
          <a:ext cx="8916651" cy="53721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57986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xmlns=""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xmlns=""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xmlns=""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xmlns=""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xmlns=""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xmlns=""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xmlns=""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xmlns=""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xmlns=""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xmlns=""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xmlns=""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xmlns=""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xmlns=""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xmlns=""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xmlns=""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xmlns=""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xmlns=""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xmlns=""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xmlns=""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xmlns=""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xmlns=""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xmlns=""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xmlns=""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xmlns=""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xmlns=""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xmlns=""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xmlns=""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xmlns=""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xmlns=""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xmlns=""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xmlns=""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xmlns=""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xmlns=""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xmlns=""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xmlns=""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xmlns=""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xmlns=""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xmlns=""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xmlns=""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xmlns=""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xmlns=""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xmlns=""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xmlns=""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xmlns=""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xmlns=""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xmlns=""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xmlns=""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xmlns=""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xmlns=""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4">
            <a:extLst>
              <a:ext uri="{FF2B5EF4-FFF2-40B4-BE49-F238E27FC236}">
                <a16:creationId xmlns:a16="http://schemas.microsoft.com/office/drawing/2014/main" xmlns=""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xmlns=""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39">
            <a:extLst>
              <a:ext uri="{FF2B5EF4-FFF2-40B4-BE49-F238E27FC236}">
                <a16:creationId xmlns:a16="http://schemas.microsoft.com/office/drawing/2014/main" xmlns=""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xmlns=""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xmlns=""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40">
            <a:extLst>
              <a:ext uri="{FF2B5EF4-FFF2-40B4-BE49-F238E27FC236}">
                <a16:creationId xmlns:a16="http://schemas.microsoft.com/office/drawing/2014/main" xmlns=""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xmlns=""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xmlns=""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xmlns=""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xmlns=""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xmlns=""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xmlns=""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xmlns=""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xmlns=""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xmlns=""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xmlns=""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xmlns=""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xmlns=""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xmlns=""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xmlns=""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xmlns=""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xmlns=""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xmlns=""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xmlns=""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xmlns=""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xmlns=""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xmlns=""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xmlns=""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xmlns=""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xmlns=""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xmlns=""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xmlns=""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xmlns=""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xmlns=""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xmlns=""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xmlns=""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xmlns=""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xmlns=""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xmlns=""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xmlns=""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xmlns=""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xmlns=""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xmlns=""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xmlns=""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xmlns=""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xmlns=""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xmlns=""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xmlns=""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xmlns=""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xmlns=""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xmlns=""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xmlns=""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xmlns=""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xmlns=""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xmlns=""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Click to insert title</a:t>
            </a:r>
            <a:endParaRPr lang="en-GB" dirty="0"/>
          </a:p>
        </p:txBody>
      </p:sp>
      <p:sp>
        <p:nvSpPr>
          <p:cNvPr id="14" name="Text Placeholder 1">
            <a:extLst>
              <a:ext uri="{FF2B5EF4-FFF2-40B4-BE49-F238E27FC236}">
                <a16:creationId xmlns:a16="http://schemas.microsoft.com/office/drawing/2014/main" xmlns="" id="{B5191259-6044-43E8-BDD8-90D2E7034488}"/>
              </a:ext>
            </a:extLst>
          </p:cNvPr>
          <p:cNvSpPr txBox="1">
            <a:spLocks/>
          </p:cNvSpPr>
          <p:nvPr/>
        </p:nvSpPr>
        <p:spPr>
          <a:xfrm>
            <a:off x="83941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graphicFrame>
        <p:nvGraphicFramePr>
          <p:cNvPr id="15" name="SmartArt Placeholder 11">
            <a:extLst>
              <a:ext uri="{FF2B5EF4-FFF2-40B4-BE49-F238E27FC236}">
                <a16:creationId xmlns:a16="http://schemas.microsoft.com/office/drawing/2014/main" xmlns="" id="{4159C739-6F6A-4522-A222-FE5E7CB171D5}"/>
              </a:ext>
            </a:extLst>
          </p:cNvPr>
          <p:cNvGraphicFramePr>
            <a:graphicFrameLocks/>
          </p:cNvGraphicFramePr>
          <p:nvPr>
            <p:extLst/>
          </p:nvPr>
        </p:nvGraphicFramePr>
        <p:xfrm>
          <a:off x="695325" y="3429000"/>
          <a:ext cx="7921625" cy="647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5">
            <a:extLst>
              <a:ext uri="{FF2B5EF4-FFF2-40B4-BE49-F238E27FC236}">
                <a16:creationId xmlns:a16="http://schemas.microsoft.com/office/drawing/2014/main" xmlns="" id="{0365D349-21F4-44C3-AFFD-1F7CDD64A72C}"/>
              </a:ext>
            </a:extLst>
          </p:cNvPr>
          <p:cNvSpPr txBox="1">
            <a:spLocks/>
          </p:cNvSpPr>
          <p:nvPr/>
        </p:nvSpPr>
        <p:spPr>
          <a:xfrm>
            <a:off x="3359696"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7" name="Text Placeholder 6">
            <a:extLst>
              <a:ext uri="{FF2B5EF4-FFF2-40B4-BE49-F238E27FC236}">
                <a16:creationId xmlns:a16="http://schemas.microsoft.com/office/drawing/2014/main" xmlns="" id="{19BC914A-80FE-4100-A8A2-E0E123124AF1}"/>
              </a:ext>
            </a:extLst>
          </p:cNvPr>
          <p:cNvSpPr txBox="1">
            <a:spLocks/>
          </p:cNvSpPr>
          <p:nvPr/>
        </p:nvSpPr>
        <p:spPr>
          <a:xfrm>
            <a:off x="5951984" y="4221088"/>
            <a:ext cx="2160240" cy="1512168"/>
          </a:xfrm>
          <a:prstGeom prst="rect">
            <a:avLst/>
          </a:prstGeom>
        </p:spPr>
        <p:txBody>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cxnSp>
        <p:nvCxnSpPr>
          <p:cNvPr id="18" name="Conector reto 49">
            <a:extLst>
              <a:ext uri="{FF2B5EF4-FFF2-40B4-BE49-F238E27FC236}">
                <a16:creationId xmlns:a16="http://schemas.microsoft.com/office/drawing/2014/main" xmlns="" id="{B7E1EADD-9835-4720-B7A2-7F019ED6D61B}"/>
              </a:ext>
            </a:extLst>
          </p:cNvPr>
          <p:cNvCxnSpPr>
            <a:cxnSpLocks/>
          </p:cNvCxnSpPr>
          <p:nvPr/>
        </p:nvCxnSpPr>
        <p:spPr>
          <a:xfrm flipV="1">
            <a:off x="3254874" y="4110049"/>
            <a:ext cx="0" cy="1623108"/>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cxnSp>
        <p:nvCxnSpPr>
          <p:cNvPr id="19" name="Conector reto 49">
            <a:extLst>
              <a:ext uri="{FF2B5EF4-FFF2-40B4-BE49-F238E27FC236}">
                <a16:creationId xmlns:a16="http://schemas.microsoft.com/office/drawing/2014/main" xmlns="" id="{F7902B49-D8D3-4DD4-8912-A99C364BA376}"/>
              </a:ext>
            </a:extLst>
          </p:cNvPr>
          <p:cNvCxnSpPr>
            <a:cxnSpLocks/>
          </p:cNvCxnSpPr>
          <p:nvPr/>
        </p:nvCxnSpPr>
        <p:spPr>
          <a:xfrm flipV="1">
            <a:off x="5813769" y="4110148"/>
            <a:ext cx="0" cy="1623009"/>
          </a:xfrm>
          <a:prstGeom prst="line">
            <a:avLst/>
          </a:prstGeom>
          <a:solidFill>
            <a:schemeClr val="tx1"/>
          </a:solidFill>
          <a:ln w="47625" cap="flat">
            <a:solidFill>
              <a:srgbClr val="C7C7C7"/>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4462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29" name="think-cell Slide" r:id="rId4" imgW="270" imgH="270" progId="TCLayout.ActiveDocument.1">
                  <p:embed/>
                </p:oleObj>
              </mc:Choice>
              <mc:Fallback>
                <p:oleObj name="think-cell Slide" r:id="rId4" imgW="270" imgH="27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xmlns=""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xmlns=""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xmlns=""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xmlns=""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xmlns=""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xmlns=""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xmlns=""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xmlns=""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xmlns=""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xmlns=""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xmlns="" id="{303A75A8-FCE0-4121-B68F-DBCEADABDE77}"/>
              </a:ext>
            </a:extLst>
          </p:cNvPr>
          <p:cNvSpPr>
            <a:spLocks noGrp="1"/>
          </p:cNvSpPr>
          <p:nvPr>
            <p:ph type="pic" sz="quarter" idx="10"/>
          </p:nvPr>
        </p:nvSpPr>
        <p:spPr/>
      </p:sp>
      <p:sp>
        <p:nvSpPr>
          <p:cNvPr id="3" name="Espace réservé du texte 2">
            <a:extLst>
              <a:ext uri="{FF2B5EF4-FFF2-40B4-BE49-F238E27FC236}">
                <a16:creationId xmlns:a16="http://schemas.microsoft.com/office/drawing/2014/main" xmlns="" id="{D8851A46-C6AE-4E73-8B8D-CDC0CD9F32CF}"/>
              </a:ext>
            </a:extLst>
          </p:cNvPr>
          <p:cNvSpPr>
            <a:spLocks noGrp="1"/>
          </p:cNvSpPr>
          <p:nvPr>
            <p:ph type="body" sz="quarter" idx="11"/>
          </p:nvPr>
        </p:nvSpPr>
        <p:spPr/>
        <p:txBody>
          <a:bodyPr/>
          <a:lstStyle/>
          <a:p>
            <a:r>
              <a:rPr lang="en-US" dirty="0"/>
              <a:t>Section break</a:t>
            </a:r>
          </a:p>
        </p:txBody>
      </p:sp>
    </p:spTree>
    <p:extLst>
      <p:ext uri="{BB962C8B-B14F-4D97-AF65-F5344CB8AC3E}">
        <p14:creationId xmlns:p14="http://schemas.microsoft.com/office/powerpoint/2010/main" val="2966989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5" name="Subtitle 4"/>
          <p:cNvSpPr>
            <a:spLocks noGrp="1"/>
          </p:cNvSpPr>
          <p:nvPr>
            <p:ph type="subTitle" idx="1"/>
          </p:nvPr>
        </p:nvSpPr>
        <p:spPr/>
        <p:txBody>
          <a:bodyPr/>
          <a:lstStyle/>
          <a:p>
            <a:r>
              <a:rPr lang="en-US"/>
              <a:t>Location, Date, Author</a:t>
            </a:r>
          </a:p>
          <a:p>
            <a:endParaRPr lang="en-GB"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8" name="Groupe 287">
            <a:extLst>
              <a:ext uri="{FF2B5EF4-FFF2-40B4-BE49-F238E27FC236}">
                <a16:creationId xmlns:a16="http://schemas.microsoft.com/office/drawing/2014/main" xmlns="" id="{4C522944-B2FE-4AF5-82C2-3C04C6396083}"/>
              </a:ext>
            </a:extLst>
          </p:cNvPr>
          <p:cNvGrpSpPr>
            <a:grpSpLocks noChangeAspect="1"/>
          </p:cNvGrpSpPr>
          <p:nvPr/>
        </p:nvGrpSpPr>
        <p:grpSpPr>
          <a:xfrm>
            <a:off x="445998" y="1274501"/>
            <a:ext cx="767627" cy="720000"/>
            <a:chOff x="423863" y="496887"/>
            <a:chExt cx="869950" cy="815975"/>
          </a:xfrm>
        </p:grpSpPr>
        <p:sp>
          <p:nvSpPr>
            <p:cNvPr id="89" name="Freeform 6">
              <a:extLst>
                <a:ext uri="{FF2B5EF4-FFF2-40B4-BE49-F238E27FC236}">
                  <a16:creationId xmlns:a16="http://schemas.microsoft.com/office/drawing/2014/main" xmlns="" id="{744689CF-1F52-4FA6-B90E-EC48F0097F18}"/>
                </a:ext>
              </a:extLst>
            </p:cNvPr>
            <p:cNvSpPr>
              <a:spLocks/>
            </p:cNvSpPr>
            <p:nvPr/>
          </p:nvSpPr>
          <p:spPr bwMode="auto">
            <a:xfrm>
              <a:off x="423863" y="496887"/>
              <a:ext cx="869950" cy="815975"/>
            </a:xfrm>
            <a:custGeom>
              <a:avLst/>
              <a:gdLst>
                <a:gd name="T0" fmla="*/ 34 w 232"/>
                <a:gd name="T1" fmla="*/ 169 h 217"/>
                <a:gd name="T2" fmla="*/ 56 w 232"/>
                <a:gd name="T3" fmla="*/ 32 h 217"/>
                <a:gd name="T4" fmla="*/ 199 w 232"/>
                <a:gd name="T5" fmla="*/ 52 h 217"/>
                <a:gd name="T6" fmla="*/ 173 w 232"/>
                <a:gd name="T7" fmla="*/ 184 h 217"/>
                <a:gd name="T8" fmla="*/ 34 w 232"/>
                <a:gd name="T9" fmla="*/ 169 h 217"/>
              </a:gdLst>
              <a:ahLst/>
              <a:cxnLst>
                <a:cxn ang="0">
                  <a:pos x="T0" y="T1"/>
                </a:cxn>
                <a:cxn ang="0">
                  <a:pos x="T2" y="T3"/>
                </a:cxn>
                <a:cxn ang="0">
                  <a:pos x="T4" y="T5"/>
                </a:cxn>
                <a:cxn ang="0">
                  <a:pos x="T6" y="T7"/>
                </a:cxn>
                <a:cxn ang="0">
                  <a:pos x="T8" y="T9"/>
                </a:cxn>
              </a:cxnLst>
              <a:rect l="0" t="0" r="r" b="b"/>
              <a:pathLst>
                <a:path w="232" h="217">
                  <a:moveTo>
                    <a:pt x="34" y="169"/>
                  </a:moveTo>
                  <a:cubicBezTo>
                    <a:pt x="0" y="126"/>
                    <a:pt x="10" y="64"/>
                    <a:pt x="56" y="32"/>
                  </a:cubicBezTo>
                  <a:cubicBezTo>
                    <a:pt x="101" y="0"/>
                    <a:pt x="166" y="9"/>
                    <a:pt x="199" y="52"/>
                  </a:cubicBezTo>
                  <a:cubicBezTo>
                    <a:pt x="232" y="96"/>
                    <a:pt x="219" y="152"/>
                    <a:pt x="173" y="184"/>
                  </a:cubicBezTo>
                  <a:cubicBezTo>
                    <a:pt x="127"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2" name="Freeform 49">
              <a:extLst>
                <a:ext uri="{FF2B5EF4-FFF2-40B4-BE49-F238E27FC236}">
                  <a16:creationId xmlns:a16="http://schemas.microsoft.com/office/drawing/2014/main" xmlns="" id="{79A0DB80-A240-4D8A-AED9-2FD83BFA118F}"/>
                </a:ext>
              </a:extLst>
            </p:cNvPr>
            <p:cNvSpPr>
              <a:spLocks/>
            </p:cNvSpPr>
            <p:nvPr/>
          </p:nvSpPr>
          <p:spPr bwMode="auto">
            <a:xfrm>
              <a:off x="855663" y="692150"/>
              <a:ext cx="11113" cy="79375"/>
            </a:xfrm>
            <a:custGeom>
              <a:avLst/>
              <a:gdLst>
                <a:gd name="T0" fmla="*/ 1 w 3"/>
                <a:gd name="T1" fmla="*/ 21 h 21"/>
                <a:gd name="T2" fmla="*/ 0 w 3"/>
                <a:gd name="T3" fmla="*/ 20 h 21"/>
                <a:gd name="T4" fmla="*/ 0 w 3"/>
                <a:gd name="T5" fmla="*/ 1 h 21"/>
                <a:gd name="T6" fmla="*/ 1 w 3"/>
                <a:gd name="T7" fmla="*/ 0 h 21"/>
                <a:gd name="T8" fmla="*/ 3 w 3"/>
                <a:gd name="T9" fmla="*/ 1 h 21"/>
                <a:gd name="T10" fmla="*/ 3 w 3"/>
                <a:gd name="T11" fmla="*/ 20 h 21"/>
                <a:gd name="T12" fmla="*/ 1 w 3"/>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 h="21">
                  <a:moveTo>
                    <a:pt x="1" y="21"/>
                  </a:moveTo>
                  <a:cubicBezTo>
                    <a:pt x="1" y="21"/>
                    <a:pt x="0" y="21"/>
                    <a:pt x="0" y="20"/>
                  </a:cubicBezTo>
                  <a:cubicBezTo>
                    <a:pt x="0" y="1"/>
                    <a:pt x="0" y="1"/>
                    <a:pt x="0" y="1"/>
                  </a:cubicBezTo>
                  <a:cubicBezTo>
                    <a:pt x="0" y="0"/>
                    <a:pt x="1" y="0"/>
                    <a:pt x="1" y="0"/>
                  </a:cubicBezTo>
                  <a:cubicBezTo>
                    <a:pt x="2" y="0"/>
                    <a:pt x="3" y="0"/>
                    <a:pt x="3" y="1"/>
                  </a:cubicBezTo>
                  <a:cubicBezTo>
                    <a:pt x="3" y="20"/>
                    <a:pt x="3" y="20"/>
                    <a:pt x="3" y="20"/>
                  </a:cubicBezTo>
                  <a:cubicBezTo>
                    <a:pt x="3" y="21"/>
                    <a:pt x="2" y="21"/>
                    <a:pt x="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3" name="Freeform 50">
              <a:extLst>
                <a:ext uri="{FF2B5EF4-FFF2-40B4-BE49-F238E27FC236}">
                  <a16:creationId xmlns:a16="http://schemas.microsoft.com/office/drawing/2014/main" xmlns="" id="{086B038E-DDCC-4EF7-8D8D-E61428C9E549}"/>
                </a:ext>
              </a:extLst>
            </p:cNvPr>
            <p:cNvSpPr>
              <a:spLocks/>
            </p:cNvSpPr>
            <p:nvPr/>
          </p:nvSpPr>
          <p:spPr bwMode="auto">
            <a:xfrm>
              <a:off x="677863" y="790575"/>
              <a:ext cx="71438" cy="44450"/>
            </a:xfrm>
            <a:custGeom>
              <a:avLst/>
              <a:gdLst>
                <a:gd name="T0" fmla="*/ 17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8 w 19"/>
                <a:gd name="T13" fmla="*/ 11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2"/>
                    <a:pt x="1" y="2"/>
                    <a:pt x="1" y="2"/>
                  </a:cubicBezTo>
                  <a:cubicBezTo>
                    <a:pt x="0" y="2"/>
                    <a:pt x="0" y="1"/>
                    <a:pt x="0" y="1"/>
                  </a:cubicBezTo>
                  <a:cubicBezTo>
                    <a:pt x="0" y="0"/>
                    <a:pt x="1" y="0"/>
                    <a:pt x="2" y="0"/>
                  </a:cubicBezTo>
                  <a:cubicBezTo>
                    <a:pt x="18" y="10"/>
                    <a:pt x="18" y="10"/>
                    <a:pt x="18" y="10"/>
                  </a:cubicBezTo>
                  <a:cubicBezTo>
                    <a:pt x="19" y="10"/>
                    <a:pt x="19" y="11"/>
                    <a:pt x="18" y="11"/>
                  </a:cubicBezTo>
                  <a:cubicBezTo>
                    <a:pt x="18" y="12"/>
                    <a:pt x="18" y="12"/>
                    <a:pt x="1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4" name="Freeform 51">
              <a:extLst>
                <a:ext uri="{FF2B5EF4-FFF2-40B4-BE49-F238E27FC236}">
                  <a16:creationId xmlns:a16="http://schemas.microsoft.com/office/drawing/2014/main" xmlns="" id="{8114B792-3884-4C93-9D48-0D8E7A51C23D}"/>
                </a:ext>
              </a:extLst>
            </p:cNvPr>
            <p:cNvSpPr>
              <a:spLocks/>
            </p:cNvSpPr>
            <p:nvPr/>
          </p:nvSpPr>
          <p:spPr bwMode="auto">
            <a:xfrm>
              <a:off x="674688" y="955675"/>
              <a:ext cx="71438"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2"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5" name="Freeform 52">
              <a:extLst>
                <a:ext uri="{FF2B5EF4-FFF2-40B4-BE49-F238E27FC236}">
                  <a16:creationId xmlns:a16="http://schemas.microsoft.com/office/drawing/2014/main" xmlns="" id="{AA0B1239-52BC-4BA2-97F9-A5290F80D3C8}"/>
                </a:ext>
              </a:extLst>
            </p:cNvPr>
            <p:cNvSpPr>
              <a:spLocks/>
            </p:cNvSpPr>
            <p:nvPr/>
          </p:nvSpPr>
          <p:spPr bwMode="auto">
            <a:xfrm>
              <a:off x="963613" y="962025"/>
              <a:ext cx="71438" cy="46038"/>
            </a:xfrm>
            <a:custGeom>
              <a:avLst/>
              <a:gdLst>
                <a:gd name="T0" fmla="*/ 18 w 19"/>
                <a:gd name="T1" fmla="*/ 12 h 12"/>
                <a:gd name="T2" fmla="*/ 17 w 19"/>
                <a:gd name="T3" fmla="*/ 12 h 12"/>
                <a:gd name="T4" fmla="*/ 1 w 19"/>
                <a:gd name="T5" fmla="*/ 2 h 12"/>
                <a:gd name="T6" fmla="*/ 0 w 19"/>
                <a:gd name="T7" fmla="*/ 1 h 12"/>
                <a:gd name="T8" fmla="*/ 2 w 19"/>
                <a:gd name="T9" fmla="*/ 0 h 12"/>
                <a:gd name="T10" fmla="*/ 18 w 19"/>
                <a:gd name="T11" fmla="*/ 10 h 12"/>
                <a:gd name="T12" fmla="*/ 19 w 19"/>
                <a:gd name="T13" fmla="*/ 11 h 12"/>
                <a:gd name="T14" fmla="*/ 18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8" y="12"/>
                  </a:moveTo>
                  <a:cubicBezTo>
                    <a:pt x="17" y="12"/>
                    <a:pt x="17" y="12"/>
                    <a:pt x="17" y="12"/>
                  </a:cubicBezTo>
                  <a:cubicBezTo>
                    <a:pt x="1" y="2"/>
                    <a:pt x="1" y="2"/>
                    <a:pt x="1" y="2"/>
                  </a:cubicBezTo>
                  <a:cubicBezTo>
                    <a:pt x="0" y="2"/>
                    <a:pt x="0" y="1"/>
                    <a:pt x="0" y="1"/>
                  </a:cubicBezTo>
                  <a:cubicBezTo>
                    <a:pt x="1" y="0"/>
                    <a:pt x="1" y="0"/>
                    <a:pt x="2" y="0"/>
                  </a:cubicBezTo>
                  <a:cubicBezTo>
                    <a:pt x="18" y="10"/>
                    <a:pt x="18" y="10"/>
                    <a:pt x="18" y="10"/>
                  </a:cubicBezTo>
                  <a:cubicBezTo>
                    <a:pt x="19" y="10"/>
                    <a:pt x="19" y="11"/>
                    <a:pt x="19" y="11"/>
                  </a:cubicBezTo>
                  <a:cubicBezTo>
                    <a:pt x="18" y="12"/>
                    <a:pt x="18" y="12"/>
                    <a:pt x="1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6" name="Freeform 53">
              <a:extLst>
                <a:ext uri="{FF2B5EF4-FFF2-40B4-BE49-F238E27FC236}">
                  <a16:creationId xmlns:a16="http://schemas.microsoft.com/office/drawing/2014/main" xmlns="" id="{37705A87-D0FD-4689-9CE0-9F8FBA5A948B}"/>
                </a:ext>
              </a:extLst>
            </p:cNvPr>
            <p:cNvSpPr>
              <a:spLocks/>
            </p:cNvSpPr>
            <p:nvPr/>
          </p:nvSpPr>
          <p:spPr bwMode="auto">
            <a:xfrm>
              <a:off x="968376" y="793750"/>
              <a:ext cx="69850" cy="44450"/>
            </a:xfrm>
            <a:custGeom>
              <a:avLst/>
              <a:gdLst>
                <a:gd name="T0" fmla="*/ 1 w 19"/>
                <a:gd name="T1" fmla="*/ 12 h 12"/>
                <a:gd name="T2" fmla="*/ 0 w 19"/>
                <a:gd name="T3" fmla="*/ 12 h 12"/>
                <a:gd name="T4" fmla="*/ 1 w 19"/>
                <a:gd name="T5" fmla="*/ 10 h 12"/>
                <a:gd name="T6" fmla="*/ 17 w 19"/>
                <a:gd name="T7" fmla="*/ 1 h 12"/>
                <a:gd name="T8" fmla="*/ 19 w 19"/>
                <a:gd name="T9" fmla="*/ 1 h 12"/>
                <a:gd name="T10" fmla="*/ 18 w 19"/>
                <a:gd name="T11" fmla="*/ 3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2"/>
                  </a:cubicBezTo>
                  <a:cubicBezTo>
                    <a:pt x="0" y="11"/>
                    <a:pt x="0" y="10"/>
                    <a:pt x="1" y="10"/>
                  </a:cubicBezTo>
                  <a:cubicBezTo>
                    <a:pt x="17" y="1"/>
                    <a:pt x="17" y="1"/>
                    <a:pt x="17" y="1"/>
                  </a:cubicBezTo>
                  <a:cubicBezTo>
                    <a:pt x="17" y="0"/>
                    <a:pt x="18" y="1"/>
                    <a:pt x="19" y="1"/>
                  </a:cubicBezTo>
                  <a:cubicBezTo>
                    <a:pt x="19" y="2"/>
                    <a:pt x="19" y="3"/>
                    <a:pt x="18" y="3"/>
                  </a:cubicBezTo>
                  <a:cubicBezTo>
                    <a:pt x="2" y="12"/>
                    <a:pt x="2" y="12"/>
                    <a:pt x="2" y="12"/>
                  </a:cubicBezTo>
                  <a:cubicBezTo>
                    <a:pt x="2" y="12"/>
                    <a:pt x="1"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7" name="Freeform 54">
              <a:extLst>
                <a:ext uri="{FF2B5EF4-FFF2-40B4-BE49-F238E27FC236}">
                  <a16:creationId xmlns:a16="http://schemas.microsoft.com/office/drawing/2014/main" xmlns="" id="{83C56208-1F5E-4636-8ED0-D2855D425F8E}"/>
                </a:ext>
              </a:extLst>
            </p:cNvPr>
            <p:cNvSpPr>
              <a:spLocks/>
            </p:cNvSpPr>
            <p:nvPr/>
          </p:nvSpPr>
          <p:spPr bwMode="auto">
            <a:xfrm>
              <a:off x="754063" y="790575"/>
              <a:ext cx="214313" cy="258763"/>
            </a:xfrm>
            <a:custGeom>
              <a:avLst/>
              <a:gdLst>
                <a:gd name="T0" fmla="*/ 55 w 57"/>
                <a:gd name="T1" fmla="*/ 24 h 69"/>
                <a:gd name="T2" fmla="*/ 24 w 57"/>
                <a:gd name="T3" fmla="*/ 2 h 69"/>
                <a:gd name="T4" fmla="*/ 8 w 57"/>
                <a:gd name="T5" fmla="*/ 11 h 69"/>
                <a:gd name="T6" fmla="*/ 2 w 57"/>
                <a:gd name="T7" fmla="*/ 34 h 69"/>
                <a:gd name="T8" fmla="*/ 14 w 57"/>
                <a:gd name="T9" fmla="*/ 52 h 69"/>
                <a:gd name="T10" fmla="*/ 15 w 57"/>
                <a:gd name="T11" fmla="*/ 53 h 69"/>
                <a:gd name="T12" fmla="*/ 15 w 57"/>
                <a:gd name="T13" fmla="*/ 54 h 69"/>
                <a:gd name="T14" fmla="*/ 15 w 57"/>
                <a:gd name="T15" fmla="*/ 60 h 69"/>
                <a:gd name="T16" fmla="*/ 15 w 57"/>
                <a:gd name="T17" fmla="*/ 60 h 69"/>
                <a:gd name="T18" fmla="*/ 15 w 57"/>
                <a:gd name="T19" fmla="*/ 60 h 69"/>
                <a:gd name="T20" fmla="*/ 15 w 57"/>
                <a:gd name="T21" fmla="*/ 62 h 69"/>
                <a:gd name="T22" fmla="*/ 15 w 57"/>
                <a:gd name="T23" fmla="*/ 68 h 69"/>
                <a:gd name="T24" fmla="*/ 38 w 57"/>
                <a:gd name="T25" fmla="*/ 67 h 69"/>
                <a:gd name="T26" fmla="*/ 39 w 57"/>
                <a:gd name="T27" fmla="*/ 66 h 69"/>
                <a:gd name="T28" fmla="*/ 39 w 57"/>
                <a:gd name="T29" fmla="*/ 66 h 69"/>
                <a:gd name="T30" fmla="*/ 40 w 57"/>
                <a:gd name="T31" fmla="*/ 66 h 69"/>
                <a:gd name="T32" fmla="*/ 42 w 57"/>
                <a:gd name="T33" fmla="*/ 62 h 69"/>
                <a:gd name="T34" fmla="*/ 42 w 57"/>
                <a:gd name="T35" fmla="*/ 62 h 69"/>
                <a:gd name="T36" fmla="*/ 42 w 57"/>
                <a:gd name="T37" fmla="*/ 54 h 69"/>
                <a:gd name="T38" fmla="*/ 42 w 57"/>
                <a:gd name="T39" fmla="*/ 53 h 69"/>
                <a:gd name="T40" fmla="*/ 42 w 57"/>
                <a:gd name="T41" fmla="*/ 52 h 69"/>
                <a:gd name="T42" fmla="*/ 55 w 57"/>
                <a:gd name="T43"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9">
                  <a:moveTo>
                    <a:pt x="55" y="24"/>
                  </a:moveTo>
                  <a:cubicBezTo>
                    <a:pt x="52" y="11"/>
                    <a:pt x="39" y="0"/>
                    <a:pt x="24" y="2"/>
                  </a:cubicBezTo>
                  <a:cubicBezTo>
                    <a:pt x="18" y="3"/>
                    <a:pt x="13" y="6"/>
                    <a:pt x="8" y="11"/>
                  </a:cubicBezTo>
                  <a:cubicBezTo>
                    <a:pt x="2" y="18"/>
                    <a:pt x="0" y="26"/>
                    <a:pt x="2" y="34"/>
                  </a:cubicBezTo>
                  <a:cubicBezTo>
                    <a:pt x="3" y="42"/>
                    <a:pt x="8" y="48"/>
                    <a:pt x="14" y="52"/>
                  </a:cubicBezTo>
                  <a:cubicBezTo>
                    <a:pt x="15" y="52"/>
                    <a:pt x="15" y="53"/>
                    <a:pt x="15" y="53"/>
                  </a:cubicBezTo>
                  <a:cubicBezTo>
                    <a:pt x="15" y="54"/>
                    <a:pt x="15" y="54"/>
                    <a:pt x="15" y="54"/>
                  </a:cubicBezTo>
                  <a:cubicBezTo>
                    <a:pt x="15" y="56"/>
                    <a:pt x="15" y="58"/>
                    <a:pt x="15" y="60"/>
                  </a:cubicBezTo>
                  <a:cubicBezTo>
                    <a:pt x="15" y="60"/>
                    <a:pt x="15" y="60"/>
                    <a:pt x="15" y="60"/>
                  </a:cubicBezTo>
                  <a:cubicBezTo>
                    <a:pt x="15" y="60"/>
                    <a:pt x="15" y="60"/>
                    <a:pt x="15" y="60"/>
                  </a:cubicBezTo>
                  <a:cubicBezTo>
                    <a:pt x="15" y="62"/>
                    <a:pt x="15" y="62"/>
                    <a:pt x="15" y="62"/>
                  </a:cubicBezTo>
                  <a:cubicBezTo>
                    <a:pt x="15" y="68"/>
                    <a:pt x="15" y="68"/>
                    <a:pt x="15" y="68"/>
                  </a:cubicBezTo>
                  <a:cubicBezTo>
                    <a:pt x="21" y="67"/>
                    <a:pt x="27" y="69"/>
                    <a:pt x="38" y="67"/>
                  </a:cubicBezTo>
                  <a:cubicBezTo>
                    <a:pt x="38" y="67"/>
                    <a:pt x="39" y="66"/>
                    <a:pt x="39" y="66"/>
                  </a:cubicBezTo>
                  <a:cubicBezTo>
                    <a:pt x="39" y="66"/>
                    <a:pt x="39" y="66"/>
                    <a:pt x="39" y="66"/>
                  </a:cubicBezTo>
                  <a:cubicBezTo>
                    <a:pt x="40" y="66"/>
                    <a:pt x="40" y="66"/>
                    <a:pt x="40" y="66"/>
                  </a:cubicBezTo>
                  <a:cubicBezTo>
                    <a:pt x="41" y="65"/>
                    <a:pt x="41" y="64"/>
                    <a:pt x="42" y="62"/>
                  </a:cubicBezTo>
                  <a:cubicBezTo>
                    <a:pt x="42" y="62"/>
                    <a:pt x="42" y="62"/>
                    <a:pt x="42" y="62"/>
                  </a:cubicBezTo>
                  <a:cubicBezTo>
                    <a:pt x="42" y="59"/>
                    <a:pt x="42" y="57"/>
                    <a:pt x="42" y="54"/>
                  </a:cubicBezTo>
                  <a:cubicBezTo>
                    <a:pt x="42" y="54"/>
                    <a:pt x="42" y="54"/>
                    <a:pt x="42" y="53"/>
                  </a:cubicBezTo>
                  <a:cubicBezTo>
                    <a:pt x="42" y="53"/>
                    <a:pt x="42" y="52"/>
                    <a:pt x="42" y="52"/>
                  </a:cubicBezTo>
                  <a:cubicBezTo>
                    <a:pt x="52" y="46"/>
                    <a:pt x="57" y="35"/>
                    <a:pt x="55" y="2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8" name="Freeform 55">
              <a:extLst>
                <a:ext uri="{FF2B5EF4-FFF2-40B4-BE49-F238E27FC236}">
                  <a16:creationId xmlns:a16="http://schemas.microsoft.com/office/drawing/2014/main" xmlns="" id="{6EF2F323-5027-4E48-897E-B2065D354A08}"/>
                </a:ext>
              </a:extLst>
            </p:cNvPr>
            <p:cNvSpPr>
              <a:spLocks/>
            </p:cNvSpPr>
            <p:nvPr/>
          </p:nvSpPr>
          <p:spPr bwMode="auto">
            <a:xfrm>
              <a:off x="814388" y="1046162"/>
              <a:ext cx="88900" cy="22225"/>
            </a:xfrm>
            <a:custGeom>
              <a:avLst/>
              <a:gdLst>
                <a:gd name="T0" fmla="*/ 24 w 24"/>
                <a:gd name="T1" fmla="*/ 4 h 6"/>
                <a:gd name="T2" fmla="*/ 24 w 24"/>
                <a:gd name="T3" fmla="*/ 3 h 6"/>
                <a:gd name="T4" fmla="*/ 24 w 24"/>
                <a:gd name="T5" fmla="*/ 1 h 6"/>
                <a:gd name="T6" fmla="*/ 24 w 24"/>
                <a:gd name="T7" fmla="*/ 1 h 6"/>
                <a:gd name="T8" fmla="*/ 23 w 24"/>
                <a:gd name="T9" fmla="*/ 1 h 6"/>
                <a:gd name="T10" fmla="*/ 23 w 24"/>
                <a:gd name="T11" fmla="*/ 1 h 6"/>
                <a:gd name="T12" fmla="*/ 22 w 24"/>
                <a:gd name="T13" fmla="*/ 0 h 6"/>
                <a:gd name="T14" fmla="*/ 22 w 24"/>
                <a:gd name="T15" fmla="*/ 0 h 6"/>
                <a:gd name="T16" fmla="*/ 21 w 24"/>
                <a:gd name="T17" fmla="*/ 1 h 6"/>
                <a:gd name="T18" fmla="*/ 0 w 24"/>
                <a:gd name="T19" fmla="*/ 2 h 6"/>
                <a:gd name="T20" fmla="*/ 0 w 24"/>
                <a:gd name="T21" fmla="*/ 2 h 6"/>
                <a:gd name="T22" fmla="*/ 0 w 24"/>
                <a:gd name="T23" fmla="*/ 3 h 6"/>
                <a:gd name="T24" fmla="*/ 1 w 24"/>
                <a:gd name="T25" fmla="*/ 6 h 6"/>
                <a:gd name="T26" fmla="*/ 2 w 24"/>
                <a:gd name="T27" fmla="*/ 6 h 6"/>
                <a:gd name="T28" fmla="*/ 22 w 24"/>
                <a:gd name="T29" fmla="*/ 6 h 6"/>
                <a:gd name="T30" fmla="*/ 24 w 24"/>
                <a:gd name="T31" fmla="*/ 5 h 6"/>
                <a:gd name="T32" fmla="*/ 24 w 24"/>
                <a:gd name="T33" fmla="*/ 4 h 6"/>
                <a:gd name="T34" fmla="*/ 24 w 24"/>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6">
                  <a:moveTo>
                    <a:pt x="24" y="4"/>
                  </a:moveTo>
                  <a:cubicBezTo>
                    <a:pt x="24" y="4"/>
                    <a:pt x="24" y="3"/>
                    <a:pt x="24" y="3"/>
                  </a:cubicBezTo>
                  <a:cubicBezTo>
                    <a:pt x="24" y="2"/>
                    <a:pt x="24" y="2"/>
                    <a:pt x="24" y="1"/>
                  </a:cubicBezTo>
                  <a:cubicBezTo>
                    <a:pt x="24" y="1"/>
                    <a:pt x="24" y="1"/>
                    <a:pt x="24" y="1"/>
                  </a:cubicBezTo>
                  <a:cubicBezTo>
                    <a:pt x="23" y="1"/>
                    <a:pt x="23" y="1"/>
                    <a:pt x="23" y="1"/>
                  </a:cubicBezTo>
                  <a:cubicBezTo>
                    <a:pt x="23" y="1"/>
                    <a:pt x="23" y="1"/>
                    <a:pt x="23" y="1"/>
                  </a:cubicBezTo>
                  <a:cubicBezTo>
                    <a:pt x="23" y="0"/>
                    <a:pt x="22" y="0"/>
                    <a:pt x="22" y="0"/>
                  </a:cubicBezTo>
                  <a:cubicBezTo>
                    <a:pt x="22" y="0"/>
                    <a:pt x="22" y="0"/>
                    <a:pt x="22" y="0"/>
                  </a:cubicBezTo>
                  <a:cubicBezTo>
                    <a:pt x="22" y="0"/>
                    <a:pt x="21" y="1"/>
                    <a:pt x="21" y="1"/>
                  </a:cubicBezTo>
                  <a:cubicBezTo>
                    <a:pt x="12" y="3"/>
                    <a:pt x="6" y="1"/>
                    <a:pt x="0" y="2"/>
                  </a:cubicBezTo>
                  <a:cubicBezTo>
                    <a:pt x="0" y="2"/>
                    <a:pt x="0" y="2"/>
                    <a:pt x="0" y="2"/>
                  </a:cubicBezTo>
                  <a:cubicBezTo>
                    <a:pt x="0" y="2"/>
                    <a:pt x="0" y="2"/>
                    <a:pt x="0" y="3"/>
                  </a:cubicBezTo>
                  <a:cubicBezTo>
                    <a:pt x="0" y="4"/>
                    <a:pt x="0" y="5"/>
                    <a:pt x="1" y="6"/>
                  </a:cubicBezTo>
                  <a:cubicBezTo>
                    <a:pt x="2" y="6"/>
                    <a:pt x="2" y="6"/>
                    <a:pt x="2" y="6"/>
                  </a:cubicBezTo>
                  <a:cubicBezTo>
                    <a:pt x="22" y="6"/>
                    <a:pt x="22" y="6"/>
                    <a:pt x="22" y="6"/>
                  </a:cubicBezTo>
                  <a:cubicBezTo>
                    <a:pt x="23" y="6"/>
                    <a:pt x="24" y="6"/>
                    <a:pt x="24" y="5"/>
                  </a:cubicBezTo>
                  <a:cubicBezTo>
                    <a:pt x="24" y="5"/>
                    <a:pt x="24" y="4"/>
                    <a:pt x="24" y="4"/>
                  </a:cubicBezTo>
                  <a:cubicBezTo>
                    <a:pt x="24" y="4"/>
                    <a:pt x="24" y="4"/>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39" name="Freeform 56">
              <a:extLst>
                <a:ext uri="{FF2B5EF4-FFF2-40B4-BE49-F238E27FC236}">
                  <a16:creationId xmlns:a16="http://schemas.microsoft.com/office/drawing/2014/main" xmlns="" id="{5B637C83-DEB7-407D-A724-E90E1E6DFB54}"/>
                </a:ext>
              </a:extLst>
            </p:cNvPr>
            <p:cNvSpPr>
              <a:spLocks/>
            </p:cNvSpPr>
            <p:nvPr/>
          </p:nvSpPr>
          <p:spPr bwMode="auto">
            <a:xfrm>
              <a:off x="820738" y="1071562"/>
              <a:ext cx="79375" cy="41275"/>
            </a:xfrm>
            <a:custGeom>
              <a:avLst/>
              <a:gdLst>
                <a:gd name="T0" fmla="*/ 18 w 21"/>
                <a:gd name="T1" fmla="*/ 6 h 11"/>
                <a:gd name="T2" fmla="*/ 13 w 21"/>
                <a:gd name="T3" fmla="*/ 11 h 11"/>
                <a:gd name="T4" fmla="*/ 8 w 21"/>
                <a:gd name="T5" fmla="*/ 11 h 11"/>
                <a:gd name="T6" fmla="*/ 2 w 21"/>
                <a:gd name="T7" fmla="*/ 6 h 11"/>
                <a:gd name="T8" fmla="*/ 2 w 21"/>
                <a:gd name="T9" fmla="*/ 5 h 11"/>
                <a:gd name="T10" fmla="*/ 0 w 21"/>
                <a:gd name="T11" fmla="*/ 3 h 11"/>
                <a:gd name="T12" fmla="*/ 2 w 21"/>
                <a:gd name="T13" fmla="*/ 0 h 11"/>
                <a:gd name="T14" fmla="*/ 18 w 21"/>
                <a:gd name="T15" fmla="*/ 0 h 11"/>
                <a:gd name="T16" fmla="*/ 21 w 21"/>
                <a:gd name="T17" fmla="*/ 3 h 11"/>
                <a:gd name="T18" fmla="*/ 18 w 21"/>
                <a:gd name="T19" fmla="*/ 5 h 11"/>
                <a:gd name="T20" fmla="*/ 18 w 21"/>
                <a:gd name="T2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1">
                  <a:moveTo>
                    <a:pt x="18" y="6"/>
                  </a:moveTo>
                  <a:cubicBezTo>
                    <a:pt x="18" y="9"/>
                    <a:pt x="15" y="11"/>
                    <a:pt x="13" y="11"/>
                  </a:cubicBezTo>
                  <a:cubicBezTo>
                    <a:pt x="11" y="11"/>
                    <a:pt x="9" y="11"/>
                    <a:pt x="8" y="11"/>
                  </a:cubicBezTo>
                  <a:cubicBezTo>
                    <a:pt x="5" y="11"/>
                    <a:pt x="2" y="9"/>
                    <a:pt x="2" y="6"/>
                  </a:cubicBezTo>
                  <a:cubicBezTo>
                    <a:pt x="2" y="6"/>
                    <a:pt x="2" y="5"/>
                    <a:pt x="2" y="5"/>
                  </a:cubicBezTo>
                  <a:cubicBezTo>
                    <a:pt x="1" y="5"/>
                    <a:pt x="0" y="4"/>
                    <a:pt x="0" y="3"/>
                  </a:cubicBezTo>
                  <a:cubicBezTo>
                    <a:pt x="0" y="1"/>
                    <a:pt x="1" y="0"/>
                    <a:pt x="2" y="0"/>
                  </a:cubicBezTo>
                  <a:cubicBezTo>
                    <a:pt x="7" y="0"/>
                    <a:pt x="13" y="0"/>
                    <a:pt x="18" y="0"/>
                  </a:cubicBezTo>
                  <a:cubicBezTo>
                    <a:pt x="19" y="0"/>
                    <a:pt x="20" y="1"/>
                    <a:pt x="21" y="3"/>
                  </a:cubicBezTo>
                  <a:cubicBezTo>
                    <a:pt x="21" y="4"/>
                    <a:pt x="20" y="5"/>
                    <a:pt x="18" y="5"/>
                  </a:cubicBezTo>
                  <a:cubicBezTo>
                    <a:pt x="18" y="5"/>
                    <a:pt x="18" y="6"/>
                    <a:pt x="1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grpSp>
        <p:nvGrpSpPr>
          <p:cNvPr id="354" name="Groupe 353">
            <a:extLst>
              <a:ext uri="{FF2B5EF4-FFF2-40B4-BE49-F238E27FC236}">
                <a16:creationId xmlns:a16="http://schemas.microsoft.com/office/drawing/2014/main" xmlns="" id="{B20473AB-CBBF-4345-AC4B-1B6CE736E081}"/>
              </a:ext>
            </a:extLst>
          </p:cNvPr>
          <p:cNvGrpSpPr>
            <a:grpSpLocks noChangeAspect="1"/>
          </p:cNvGrpSpPr>
          <p:nvPr/>
        </p:nvGrpSpPr>
        <p:grpSpPr>
          <a:xfrm>
            <a:off x="1386051" y="1274501"/>
            <a:ext cx="772337" cy="720000"/>
            <a:chOff x="8906225" y="3476714"/>
            <a:chExt cx="866775" cy="808038"/>
          </a:xfrm>
        </p:grpSpPr>
        <p:sp>
          <p:nvSpPr>
            <p:cNvPr id="355" name="Freeform 75">
              <a:extLst>
                <a:ext uri="{FF2B5EF4-FFF2-40B4-BE49-F238E27FC236}">
                  <a16:creationId xmlns:a16="http://schemas.microsoft.com/office/drawing/2014/main" xmlns="" id="{BBF5AEB2-1A70-45C4-9B51-06CA75E95E3C}"/>
                </a:ext>
              </a:extLst>
            </p:cNvPr>
            <p:cNvSpPr>
              <a:spLocks/>
            </p:cNvSpPr>
            <p:nvPr/>
          </p:nvSpPr>
          <p:spPr bwMode="auto">
            <a:xfrm>
              <a:off x="8906225" y="3476714"/>
              <a:ext cx="866775" cy="808038"/>
            </a:xfrm>
            <a:custGeom>
              <a:avLst/>
              <a:gdLst>
                <a:gd name="T0" fmla="*/ 33 w 231"/>
                <a:gd name="T1" fmla="*/ 168 h 215"/>
                <a:gd name="T2" fmla="*/ 55 w 231"/>
                <a:gd name="T3" fmla="*/ 32 h 215"/>
                <a:gd name="T4" fmla="*/ 197 w 231"/>
                <a:gd name="T5" fmla="*/ 52 h 215"/>
                <a:gd name="T6" fmla="*/ 172 w 231"/>
                <a:gd name="T7" fmla="*/ 183 h 215"/>
                <a:gd name="T8" fmla="*/ 33 w 231"/>
                <a:gd name="T9" fmla="*/ 168 h 215"/>
              </a:gdLst>
              <a:ahLst/>
              <a:cxnLst>
                <a:cxn ang="0">
                  <a:pos x="T0" y="T1"/>
                </a:cxn>
                <a:cxn ang="0">
                  <a:pos x="T2" y="T3"/>
                </a:cxn>
                <a:cxn ang="0">
                  <a:pos x="T4" y="T5"/>
                </a:cxn>
                <a:cxn ang="0">
                  <a:pos x="T6" y="T7"/>
                </a:cxn>
                <a:cxn ang="0">
                  <a:pos x="T8" y="T9"/>
                </a:cxn>
              </a:cxnLst>
              <a:rect l="0" t="0" r="r" b="b"/>
              <a:pathLst>
                <a:path w="231" h="215">
                  <a:moveTo>
                    <a:pt x="33" y="168"/>
                  </a:moveTo>
                  <a:cubicBezTo>
                    <a:pt x="0" y="125"/>
                    <a:pt x="10" y="64"/>
                    <a:pt x="55" y="32"/>
                  </a:cubicBezTo>
                  <a:cubicBezTo>
                    <a:pt x="101" y="0"/>
                    <a:pt x="164" y="9"/>
                    <a:pt x="197" y="52"/>
                  </a:cubicBezTo>
                  <a:cubicBezTo>
                    <a:pt x="231" y="95"/>
                    <a:pt x="217" y="151"/>
                    <a:pt x="172" y="183"/>
                  </a:cubicBezTo>
                  <a:cubicBezTo>
                    <a:pt x="126" y="215"/>
                    <a:pt x="66" y="212"/>
                    <a:pt x="33" y="168"/>
                  </a:cubicBezTo>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56" name="Groupe 355">
              <a:extLst>
                <a:ext uri="{FF2B5EF4-FFF2-40B4-BE49-F238E27FC236}">
                  <a16:creationId xmlns:a16="http://schemas.microsoft.com/office/drawing/2014/main" xmlns="" id="{28084010-0E7E-4CAA-AED3-D38E443E165E}"/>
                </a:ext>
              </a:extLst>
            </p:cNvPr>
            <p:cNvGrpSpPr/>
            <p:nvPr/>
          </p:nvGrpSpPr>
          <p:grpSpPr>
            <a:xfrm>
              <a:off x="9153875" y="3671977"/>
              <a:ext cx="363537" cy="428625"/>
              <a:chOff x="9153875" y="3671977"/>
              <a:chExt cx="363537" cy="428625"/>
            </a:xfrm>
          </p:grpSpPr>
          <p:sp>
            <p:nvSpPr>
              <p:cNvPr id="357" name="Freeform 76">
                <a:extLst>
                  <a:ext uri="{FF2B5EF4-FFF2-40B4-BE49-F238E27FC236}">
                    <a16:creationId xmlns:a16="http://schemas.microsoft.com/office/drawing/2014/main" xmlns="" id="{43272F5A-D450-472B-90AB-4A8FA40BF5B7}"/>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77">
                <a:extLst>
                  <a:ext uri="{FF2B5EF4-FFF2-40B4-BE49-F238E27FC236}">
                    <a16:creationId xmlns:a16="http://schemas.microsoft.com/office/drawing/2014/main" xmlns="" id="{532B22FB-456C-41E2-A545-7FFB0D21AADF}"/>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78">
                <a:extLst>
                  <a:ext uri="{FF2B5EF4-FFF2-40B4-BE49-F238E27FC236}">
                    <a16:creationId xmlns:a16="http://schemas.microsoft.com/office/drawing/2014/main" xmlns="" id="{E8A3F369-8A78-411F-8469-69CBE3900F04}"/>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79">
                <a:extLst>
                  <a:ext uri="{FF2B5EF4-FFF2-40B4-BE49-F238E27FC236}">
                    <a16:creationId xmlns:a16="http://schemas.microsoft.com/office/drawing/2014/main" xmlns="" id="{6418A0C7-7C2A-4399-88FC-8152BF0B7A86}"/>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80">
                <a:extLst>
                  <a:ext uri="{FF2B5EF4-FFF2-40B4-BE49-F238E27FC236}">
                    <a16:creationId xmlns:a16="http://schemas.microsoft.com/office/drawing/2014/main" xmlns="" id="{D0EB2A8A-60DC-426D-BEB8-D98DEECAAF7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81">
                <a:extLst>
                  <a:ext uri="{FF2B5EF4-FFF2-40B4-BE49-F238E27FC236}">
                    <a16:creationId xmlns:a16="http://schemas.microsoft.com/office/drawing/2014/main" xmlns="" id="{55CA8E1D-93CD-4C83-B92D-1EDC032BEAF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3" name="Groupe 362">
            <a:extLst>
              <a:ext uri="{FF2B5EF4-FFF2-40B4-BE49-F238E27FC236}">
                <a16:creationId xmlns:a16="http://schemas.microsoft.com/office/drawing/2014/main" xmlns="" id="{F685A221-E462-4EA0-847B-AA4DB52B9575}"/>
              </a:ext>
            </a:extLst>
          </p:cNvPr>
          <p:cNvGrpSpPr>
            <a:grpSpLocks noChangeAspect="1"/>
          </p:cNvGrpSpPr>
          <p:nvPr/>
        </p:nvGrpSpPr>
        <p:grpSpPr>
          <a:xfrm>
            <a:off x="5126830" y="1274501"/>
            <a:ext cx="762784" cy="720000"/>
            <a:chOff x="5010150" y="552451"/>
            <a:chExt cx="990600" cy="935038"/>
          </a:xfrm>
        </p:grpSpPr>
        <p:sp>
          <p:nvSpPr>
            <p:cNvPr id="364" name="Freeform 86">
              <a:extLst>
                <a:ext uri="{FF2B5EF4-FFF2-40B4-BE49-F238E27FC236}">
                  <a16:creationId xmlns:a16="http://schemas.microsoft.com/office/drawing/2014/main" xmlns="" id="{6A6FC9D8-0C2A-4882-9BF2-49647740F7FD}"/>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5" name="Groupe 364">
              <a:extLst>
                <a:ext uri="{FF2B5EF4-FFF2-40B4-BE49-F238E27FC236}">
                  <a16:creationId xmlns:a16="http://schemas.microsoft.com/office/drawing/2014/main" xmlns="" id="{92C55639-C451-432F-ACBD-B0728A4047C7}"/>
                </a:ext>
              </a:extLst>
            </p:cNvPr>
            <p:cNvGrpSpPr/>
            <p:nvPr/>
          </p:nvGrpSpPr>
          <p:grpSpPr>
            <a:xfrm>
              <a:off x="5291138" y="730251"/>
              <a:ext cx="388938" cy="590550"/>
              <a:chOff x="5291138" y="730251"/>
              <a:chExt cx="388938" cy="590550"/>
            </a:xfrm>
          </p:grpSpPr>
          <p:sp>
            <p:nvSpPr>
              <p:cNvPr id="366" name="Rectangle 87">
                <a:extLst>
                  <a:ext uri="{FF2B5EF4-FFF2-40B4-BE49-F238E27FC236}">
                    <a16:creationId xmlns:a16="http://schemas.microsoft.com/office/drawing/2014/main" xmlns="" id="{7FB1329B-85EC-4018-84EC-4F5AE13C71F1}"/>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88">
                <a:extLst>
                  <a:ext uri="{FF2B5EF4-FFF2-40B4-BE49-F238E27FC236}">
                    <a16:creationId xmlns:a16="http://schemas.microsoft.com/office/drawing/2014/main" xmlns="" id="{56C194D9-3948-4ED4-824C-645D924683C7}"/>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Rectangle 89">
                <a:extLst>
                  <a:ext uri="{FF2B5EF4-FFF2-40B4-BE49-F238E27FC236}">
                    <a16:creationId xmlns:a16="http://schemas.microsoft.com/office/drawing/2014/main" xmlns="" id="{E54D771B-DC0E-4467-BC2B-A05C602386C5}"/>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Rectangle 90">
                <a:extLst>
                  <a:ext uri="{FF2B5EF4-FFF2-40B4-BE49-F238E27FC236}">
                    <a16:creationId xmlns:a16="http://schemas.microsoft.com/office/drawing/2014/main" xmlns="" id="{609F0360-506C-422C-B844-D7BB1D37E6A5}"/>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91">
                <a:extLst>
                  <a:ext uri="{FF2B5EF4-FFF2-40B4-BE49-F238E27FC236}">
                    <a16:creationId xmlns:a16="http://schemas.microsoft.com/office/drawing/2014/main" xmlns="" id="{BE32B5F6-A19C-42C9-85DE-5E7868FA0D94}"/>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Oval 92">
                <a:extLst>
                  <a:ext uri="{FF2B5EF4-FFF2-40B4-BE49-F238E27FC236}">
                    <a16:creationId xmlns:a16="http://schemas.microsoft.com/office/drawing/2014/main" xmlns="" id="{35F4DD12-8459-4C4E-B661-BB21E0318088}"/>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93">
                <a:extLst>
                  <a:ext uri="{FF2B5EF4-FFF2-40B4-BE49-F238E27FC236}">
                    <a16:creationId xmlns:a16="http://schemas.microsoft.com/office/drawing/2014/main" xmlns="" id="{D6A1F10D-19E8-49C2-82BD-D5121F8661CE}"/>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94">
                <a:extLst>
                  <a:ext uri="{FF2B5EF4-FFF2-40B4-BE49-F238E27FC236}">
                    <a16:creationId xmlns:a16="http://schemas.microsoft.com/office/drawing/2014/main" xmlns="" id="{572351E6-2F9B-467B-BAD9-6484C5771888}"/>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95">
                <a:extLst>
                  <a:ext uri="{FF2B5EF4-FFF2-40B4-BE49-F238E27FC236}">
                    <a16:creationId xmlns:a16="http://schemas.microsoft.com/office/drawing/2014/main" xmlns="" id="{01082D91-3180-4184-93B8-A691414CD6F8}"/>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96">
                <a:extLst>
                  <a:ext uri="{FF2B5EF4-FFF2-40B4-BE49-F238E27FC236}">
                    <a16:creationId xmlns:a16="http://schemas.microsoft.com/office/drawing/2014/main" xmlns="" id="{B625FAE7-5B36-49C3-9767-6A447AF3C69E}"/>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76" name="Groupe 375">
            <a:extLst>
              <a:ext uri="{FF2B5EF4-FFF2-40B4-BE49-F238E27FC236}">
                <a16:creationId xmlns:a16="http://schemas.microsoft.com/office/drawing/2014/main" xmlns="" id="{D168624A-6BB7-447D-9E6A-A6E5BFD73DA2}"/>
              </a:ext>
            </a:extLst>
          </p:cNvPr>
          <p:cNvGrpSpPr>
            <a:grpSpLocks noChangeAspect="1"/>
          </p:cNvGrpSpPr>
          <p:nvPr/>
        </p:nvGrpSpPr>
        <p:grpSpPr>
          <a:xfrm>
            <a:off x="2330814" y="1274501"/>
            <a:ext cx="762639" cy="720000"/>
            <a:chOff x="10069513" y="552451"/>
            <a:chExt cx="993775" cy="938213"/>
          </a:xfrm>
        </p:grpSpPr>
        <p:sp>
          <p:nvSpPr>
            <p:cNvPr id="377" name="Freeform 114">
              <a:extLst>
                <a:ext uri="{FF2B5EF4-FFF2-40B4-BE49-F238E27FC236}">
                  <a16:creationId xmlns:a16="http://schemas.microsoft.com/office/drawing/2014/main" xmlns="" id="{F9C34210-5A6E-4686-A2D6-F3F512A1374E}"/>
                </a:ext>
              </a:extLst>
            </p:cNvPr>
            <p:cNvSpPr>
              <a:spLocks/>
            </p:cNvSpPr>
            <p:nvPr/>
          </p:nvSpPr>
          <p:spPr bwMode="auto">
            <a:xfrm>
              <a:off x="10069513" y="552451"/>
              <a:ext cx="993775" cy="938213"/>
            </a:xfrm>
            <a:custGeom>
              <a:avLst/>
              <a:gdLst>
                <a:gd name="T0" fmla="*/ 42 w 294"/>
                <a:gd name="T1" fmla="*/ 215 h 275"/>
                <a:gd name="T2" fmla="*/ 71 w 294"/>
                <a:gd name="T3" fmla="*/ 41 h 275"/>
                <a:gd name="T4" fmla="*/ 252 w 294"/>
                <a:gd name="T5" fmla="*/ 67 h 275"/>
                <a:gd name="T6" fmla="*/ 219 w 294"/>
                <a:gd name="T7" fmla="*/ 234 h 275"/>
                <a:gd name="T8" fmla="*/ 42 w 294"/>
                <a:gd name="T9" fmla="*/ 215 h 275"/>
              </a:gdLst>
              <a:ahLst/>
              <a:cxnLst>
                <a:cxn ang="0">
                  <a:pos x="T0" y="T1"/>
                </a:cxn>
                <a:cxn ang="0">
                  <a:pos x="T2" y="T3"/>
                </a:cxn>
                <a:cxn ang="0">
                  <a:pos x="T4" y="T5"/>
                </a:cxn>
                <a:cxn ang="0">
                  <a:pos x="T6" y="T7"/>
                </a:cxn>
                <a:cxn ang="0">
                  <a:pos x="T8" y="T9"/>
                </a:cxn>
              </a:cxnLst>
              <a:rect l="0" t="0" r="r" b="b"/>
              <a:pathLst>
                <a:path w="294" h="275">
                  <a:moveTo>
                    <a:pt x="42" y="215"/>
                  </a:moveTo>
                  <a:cubicBezTo>
                    <a:pt x="0" y="160"/>
                    <a:pt x="13" y="82"/>
                    <a:pt x="71" y="41"/>
                  </a:cubicBezTo>
                  <a:cubicBezTo>
                    <a:pt x="128" y="0"/>
                    <a:pt x="210" y="12"/>
                    <a:pt x="252" y="67"/>
                  </a:cubicBezTo>
                  <a:cubicBezTo>
                    <a:pt x="294" y="122"/>
                    <a:pt x="276" y="194"/>
                    <a:pt x="219" y="234"/>
                  </a:cubicBezTo>
                  <a:cubicBezTo>
                    <a:pt x="161" y="275"/>
                    <a:pt x="84" y="270"/>
                    <a:pt x="42" y="215"/>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8" name="Groupe 377">
              <a:extLst>
                <a:ext uri="{FF2B5EF4-FFF2-40B4-BE49-F238E27FC236}">
                  <a16:creationId xmlns:a16="http://schemas.microsoft.com/office/drawing/2014/main" xmlns="" id="{7DFE52F1-ECE7-43AD-98C2-D76C93759EF6}"/>
                </a:ext>
              </a:extLst>
            </p:cNvPr>
            <p:cNvGrpSpPr/>
            <p:nvPr/>
          </p:nvGrpSpPr>
          <p:grpSpPr>
            <a:xfrm>
              <a:off x="10360025" y="701676"/>
              <a:ext cx="412750" cy="639762"/>
              <a:chOff x="10360025" y="701676"/>
              <a:chExt cx="412750" cy="639762"/>
            </a:xfrm>
          </p:grpSpPr>
          <p:sp>
            <p:nvSpPr>
              <p:cNvPr id="379" name="Freeform 115">
                <a:extLst>
                  <a:ext uri="{FF2B5EF4-FFF2-40B4-BE49-F238E27FC236}">
                    <a16:creationId xmlns:a16="http://schemas.microsoft.com/office/drawing/2014/main" xmlns="" id="{737824B3-2F11-4984-8302-48A07D4C5298}"/>
                  </a:ext>
                </a:extLst>
              </p:cNvPr>
              <p:cNvSpPr>
                <a:spLocks/>
              </p:cNvSpPr>
              <p:nvPr/>
            </p:nvSpPr>
            <p:spPr bwMode="auto">
              <a:xfrm>
                <a:off x="10536238" y="1312863"/>
                <a:ext cx="98425" cy="28575"/>
              </a:xfrm>
              <a:custGeom>
                <a:avLst/>
                <a:gdLst>
                  <a:gd name="T0" fmla="*/ 0 w 29"/>
                  <a:gd name="T1" fmla="*/ 0 h 8"/>
                  <a:gd name="T2" fmla="*/ 9 w 29"/>
                  <a:gd name="T3" fmla="*/ 8 h 8"/>
                  <a:gd name="T4" fmla="*/ 29 w 29"/>
                  <a:gd name="T5" fmla="*/ 0 h 8"/>
                  <a:gd name="T6" fmla="*/ 0 w 29"/>
                  <a:gd name="T7" fmla="*/ 0 h 8"/>
                  <a:gd name="T8" fmla="*/ 0 w 29"/>
                  <a:gd name="T9" fmla="*/ 0 h 8"/>
                </a:gdLst>
                <a:ahLst/>
                <a:cxnLst>
                  <a:cxn ang="0">
                    <a:pos x="T0" y="T1"/>
                  </a:cxn>
                  <a:cxn ang="0">
                    <a:pos x="T2" y="T3"/>
                  </a:cxn>
                  <a:cxn ang="0">
                    <a:pos x="T4" y="T5"/>
                  </a:cxn>
                  <a:cxn ang="0">
                    <a:pos x="T6" y="T7"/>
                  </a:cxn>
                  <a:cxn ang="0">
                    <a:pos x="T8" y="T9"/>
                  </a:cxn>
                </a:cxnLst>
                <a:rect l="0" t="0" r="r" b="b"/>
                <a:pathLst>
                  <a:path w="29" h="8">
                    <a:moveTo>
                      <a:pt x="0" y="0"/>
                    </a:moveTo>
                    <a:cubicBezTo>
                      <a:pt x="5" y="4"/>
                      <a:pt x="9" y="8"/>
                      <a:pt x="9" y="8"/>
                    </a:cubicBezTo>
                    <a:cubicBezTo>
                      <a:pt x="17" y="8"/>
                      <a:pt x="24" y="4"/>
                      <a:pt x="29" y="0"/>
                    </a:cubicBezTo>
                    <a:cubicBezTo>
                      <a:pt x="0" y="0"/>
                      <a:pt x="0" y="0"/>
                      <a:pt x="0" y="0"/>
                    </a:cubicBezTo>
                    <a:cubicBezTo>
                      <a:pt x="0" y="0"/>
                      <a:pt x="0" y="0"/>
                      <a:pt x="0" y="0"/>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16">
                <a:extLst>
                  <a:ext uri="{FF2B5EF4-FFF2-40B4-BE49-F238E27FC236}">
                    <a16:creationId xmlns:a16="http://schemas.microsoft.com/office/drawing/2014/main" xmlns="" id="{5FD10402-3834-4F03-AB60-BFE11E3E1618}"/>
                  </a:ext>
                </a:extLst>
              </p:cNvPr>
              <p:cNvSpPr>
                <a:spLocks/>
              </p:cNvSpPr>
              <p:nvPr/>
            </p:nvSpPr>
            <p:spPr bwMode="auto">
              <a:xfrm>
                <a:off x="10482263" y="1184276"/>
                <a:ext cx="168275" cy="30163"/>
              </a:xfrm>
              <a:custGeom>
                <a:avLst/>
                <a:gdLst>
                  <a:gd name="T0" fmla="*/ 50 w 50"/>
                  <a:gd name="T1" fmla="*/ 5 h 9"/>
                  <a:gd name="T2" fmla="*/ 46 w 50"/>
                  <a:gd name="T3" fmla="*/ 9 h 9"/>
                  <a:gd name="T4" fmla="*/ 3 w 50"/>
                  <a:gd name="T5" fmla="*/ 9 h 9"/>
                  <a:gd name="T6" fmla="*/ 0 w 50"/>
                  <a:gd name="T7" fmla="*/ 5 h 9"/>
                  <a:gd name="T8" fmla="*/ 0 w 50"/>
                  <a:gd name="T9" fmla="*/ 3 h 9"/>
                  <a:gd name="T10" fmla="*/ 3 w 50"/>
                  <a:gd name="T11" fmla="*/ 0 h 9"/>
                  <a:gd name="T12" fmla="*/ 46 w 50"/>
                  <a:gd name="T13" fmla="*/ 0 h 9"/>
                  <a:gd name="T14" fmla="*/ 50 w 50"/>
                  <a:gd name="T15" fmla="*/ 3 h 9"/>
                  <a:gd name="T16" fmla="*/ 50 w 50"/>
                  <a:gd name="T17" fmla="*/ 5 h 9"/>
                  <a:gd name="T18" fmla="*/ 50 w 50"/>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9">
                    <a:moveTo>
                      <a:pt x="50" y="5"/>
                    </a:moveTo>
                    <a:cubicBezTo>
                      <a:pt x="50" y="7"/>
                      <a:pt x="49" y="9"/>
                      <a:pt x="46" y="9"/>
                    </a:cubicBezTo>
                    <a:cubicBezTo>
                      <a:pt x="3" y="9"/>
                      <a:pt x="3" y="9"/>
                      <a:pt x="3" y="9"/>
                    </a:cubicBezTo>
                    <a:cubicBezTo>
                      <a:pt x="1" y="9"/>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17">
                <a:extLst>
                  <a:ext uri="{FF2B5EF4-FFF2-40B4-BE49-F238E27FC236}">
                    <a16:creationId xmlns:a16="http://schemas.microsoft.com/office/drawing/2014/main" xmlns="" id="{6381615D-359D-45D9-97DD-CE1FCC470AEC}"/>
                  </a:ext>
                </a:extLst>
              </p:cNvPr>
              <p:cNvSpPr>
                <a:spLocks/>
              </p:cNvSpPr>
              <p:nvPr/>
            </p:nvSpPr>
            <p:spPr bwMode="auto">
              <a:xfrm>
                <a:off x="10482263" y="1228726"/>
                <a:ext cx="168275" cy="26988"/>
              </a:xfrm>
              <a:custGeom>
                <a:avLst/>
                <a:gdLst>
                  <a:gd name="T0" fmla="*/ 50 w 50"/>
                  <a:gd name="T1" fmla="*/ 5 h 8"/>
                  <a:gd name="T2" fmla="*/ 46 w 50"/>
                  <a:gd name="T3" fmla="*/ 8 h 8"/>
                  <a:gd name="T4" fmla="*/ 3 w 50"/>
                  <a:gd name="T5" fmla="*/ 8 h 8"/>
                  <a:gd name="T6" fmla="*/ 0 w 50"/>
                  <a:gd name="T7" fmla="*/ 5 h 8"/>
                  <a:gd name="T8" fmla="*/ 0 w 50"/>
                  <a:gd name="T9" fmla="*/ 3 h 8"/>
                  <a:gd name="T10" fmla="*/ 3 w 50"/>
                  <a:gd name="T11" fmla="*/ 0 h 8"/>
                  <a:gd name="T12" fmla="*/ 46 w 50"/>
                  <a:gd name="T13" fmla="*/ 0 h 8"/>
                  <a:gd name="T14" fmla="*/ 50 w 50"/>
                  <a:gd name="T15" fmla="*/ 3 h 8"/>
                  <a:gd name="T16" fmla="*/ 50 w 50"/>
                  <a:gd name="T17" fmla="*/ 5 h 8"/>
                  <a:gd name="T18" fmla="*/ 50 w 50"/>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8">
                    <a:moveTo>
                      <a:pt x="50" y="5"/>
                    </a:moveTo>
                    <a:cubicBezTo>
                      <a:pt x="50" y="7"/>
                      <a:pt x="49" y="8"/>
                      <a:pt x="46" y="8"/>
                    </a:cubicBezTo>
                    <a:cubicBezTo>
                      <a:pt x="3" y="8"/>
                      <a:pt x="3" y="8"/>
                      <a:pt x="3" y="8"/>
                    </a:cubicBezTo>
                    <a:cubicBezTo>
                      <a:pt x="1" y="8"/>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18">
                <a:extLst>
                  <a:ext uri="{FF2B5EF4-FFF2-40B4-BE49-F238E27FC236}">
                    <a16:creationId xmlns:a16="http://schemas.microsoft.com/office/drawing/2014/main" xmlns="" id="{9A19688F-83A8-408E-A34D-D3C0797F6903}"/>
                  </a:ext>
                </a:extLst>
              </p:cNvPr>
              <p:cNvSpPr>
                <a:spLocks/>
              </p:cNvSpPr>
              <p:nvPr/>
            </p:nvSpPr>
            <p:spPr bwMode="auto">
              <a:xfrm>
                <a:off x="10482263" y="1265238"/>
                <a:ext cx="168275" cy="34925"/>
              </a:xfrm>
              <a:custGeom>
                <a:avLst/>
                <a:gdLst>
                  <a:gd name="T0" fmla="*/ 50 w 50"/>
                  <a:gd name="T1" fmla="*/ 7 h 10"/>
                  <a:gd name="T2" fmla="*/ 46 w 50"/>
                  <a:gd name="T3" fmla="*/ 10 h 10"/>
                  <a:gd name="T4" fmla="*/ 3 w 50"/>
                  <a:gd name="T5" fmla="*/ 10 h 10"/>
                  <a:gd name="T6" fmla="*/ 0 w 50"/>
                  <a:gd name="T7" fmla="*/ 7 h 10"/>
                  <a:gd name="T8" fmla="*/ 0 w 50"/>
                  <a:gd name="T9" fmla="*/ 5 h 10"/>
                  <a:gd name="T10" fmla="*/ 3 w 50"/>
                  <a:gd name="T11" fmla="*/ 0 h 10"/>
                  <a:gd name="T12" fmla="*/ 46 w 50"/>
                  <a:gd name="T13" fmla="*/ 0 h 10"/>
                  <a:gd name="T14" fmla="*/ 50 w 50"/>
                  <a:gd name="T15" fmla="*/ 5 h 10"/>
                  <a:gd name="T16" fmla="*/ 50 w 50"/>
                  <a:gd name="T17" fmla="*/ 7 h 10"/>
                  <a:gd name="T18" fmla="*/ 50 w 50"/>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
                    <a:moveTo>
                      <a:pt x="50" y="7"/>
                    </a:moveTo>
                    <a:cubicBezTo>
                      <a:pt x="50" y="9"/>
                      <a:pt x="49" y="10"/>
                      <a:pt x="46" y="10"/>
                    </a:cubicBezTo>
                    <a:cubicBezTo>
                      <a:pt x="3" y="10"/>
                      <a:pt x="3" y="10"/>
                      <a:pt x="3" y="10"/>
                    </a:cubicBezTo>
                    <a:cubicBezTo>
                      <a:pt x="1" y="10"/>
                      <a:pt x="0" y="9"/>
                      <a:pt x="0" y="7"/>
                    </a:cubicBezTo>
                    <a:cubicBezTo>
                      <a:pt x="0" y="5"/>
                      <a:pt x="0" y="5"/>
                      <a:pt x="0" y="5"/>
                    </a:cubicBezTo>
                    <a:cubicBezTo>
                      <a:pt x="0" y="3"/>
                      <a:pt x="1" y="0"/>
                      <a:pt x="3" y="0"/>
                    </a:cubicBezTo>
                    <a:cubicBezTo>
                      <a:pt x="46" y="0"/>
                      <a:pt x="46" y="0"/>
                      <a:pt x="46" y="0"/>
                    </a:cubicBezTo>
                    <a:cubicBezTo>
                      <a:pt x="49" y="0"/>
                      <a:pt x="50" y="3"/>
                      <a:pt x="50" y="5"/>
                    </a:cubicBezTo>
                    <a:cubicBezTo>
                      <a:pt x="50" y="7"/>
                      <a:pt x="50" y="7"/>
                      <a:pt x="50" y="7"/>
                    </a:cubicBezTo>
                    <a:cubicBezTo>
                      <a:pt x="50" y="7"/>
                      <a:pt x="50" y="7"/>
                      <a:pt x="50" y="7"/>
                    </a:cubicBezTo>
                    <a:close/>
                  </a:path>
                </a:pathLst>
              </a:cu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19">
                <a:extLst>
                  <a:ext uri="{FF2B5EF4-FFF2-40B4-BE49-F238E27FC236}">
                    <a16:creationId xmlns:a16="http://schemas.microsoft.com/office/drawing/2014/main" xmlns="" id="{465EBD10-0CB6-4A0B-95D5-2C86792262FA}"/>
                  </a:ext>
                </a:extLst>
              </p:cNvPr>
              <p:cNvSpPr>
                <a:spLocks/>
              </p:cNvSpPr>
              <p:nvPr/>
            </p:nvSpPr>
            <p:spPr bwMode="auto">
              <a:xfrm>
                <a:off x="10360025" y="701676"/>
                <a:ext cx="412750" cy="450850"/>
              </a:xfrm>
              <a:custGeom>
                <a:avLst/>
                <a:gdLst>
                  <a:gd name="T0" fmla="*/ 121 w 122"/>
                  <a:gd name="T1" fmla="*/ 60 h 132"/>
                  <a:gd name="T2" fmla="*/ 121 w 122"/>
                  <a:gd name="T3" fmla="*/ 60 h 132"/>
                  <a:gd name="T4" fmla="*/ 61 w 122"/>
                  <a:gd name="T5" fmla="*/ 0 h 132"/>
                  <a:gd name="T6" fmla="*/ 1 w 122"/>
                  <a:gd name="T7" fmla="*/ 60 h 132"/>
                  <a:gd name="T8" fmla="*/ 18 w 122"/>
                  <a:gd name="T9" fmla="*/ 104 h 132"/>
                  <a:gd name="T10" fmla="*/ 36 w 122"/>
                  <a:gd name="T11" fmla="*/ 132 h 132"/>
                  <a:gd name="T12" fmla="*/ 61 w 122"/>
                  <a:gd name="T13" fmla="*/ 132 h 132"/>
                  <a:gd name="T14" fmla="*/ 86 w 122"/>
                  <a:gd name="T15" fmla="*/ 132 h 132"/>
                  <a:gd name="T16" fmla="*/ 104 w 122"/>
                  <a:gd name="T17" fmla="*/ 104 h 132"/>
                  <a:gd name="T18" fmla="*/ 121 w 122"/>
                  <a:gd name="T19" fmla="*/ 6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2">
                    <a:moveTo>
                      <a:pt x="121" y="60"/>
                    </a:moveTo>
                    <a:cubicBezTo>
                      <a:pt x="121" y="60"/>
                      <a:pt x="121" y="60"/>
                      <a:pt x="121" y="60"/>
                    </a:cubicBezTo>
                    <a:cubicBezTo>
                      <a:pt x="121" y="27"/>
                      <a:pt x="94" y="0"/>
                      <a:pt x="61" y="0"/>
                    </a:cubicBezTo>
                    <a:cubicBezTo>
                      <a:pt x="28" y="0"/>
                      <a:pt x="1" y="27"/>
                      <a:pt x="1" y="60"/>
                    </a:cubicBezTo>
                    <a:cubicBezTo>
                      <a:pt x="1" y="60"/>
                      <a:pt x="0" y="85"/>
                      <a:pt x="18" y="104"/>
                    </a:cubicBezTo>
                    <a:cubicBezTo>
                      <a:pt x="37" y="122"/>
                      <a:pt x="36" y="132"/>
                      <a:pt x="36" y="132"/>
                    </a:cubicBezTo>
                    <a:cubicBezTo>
                      <a:pt x="61" y="132"/>
                      <a:pt x="61" y="132"/>
                      <a:pt x="61" y="132"/>
                    </a:cubicBezTo>
                    <a:cubicBezTo>
                      <a:pt x="86" y="132"/>
                      <a:pt x="86" y="132"/>
                      <a:pt x="86" y="132"/>
                    </a:cubicBezTo>
                    <a:cubicBezTo>
                      <a:pt x="86" y="132"/>
                      <a:pt x="86" y="122"/>
                      <a:pt x="104" y="104"/>
                    </a:cubicBezTo>
                    <a:cubicBezTo>
                      <a:pt x="122" y="85"/>
                      <a:pt x="121" y="60"/>
                      <a:pt x="121" y="60"/>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Line 120">
                <a:extLst>
                  <a:ext uri="{FF2B5EF4-FFF2-40B4-BE49-F238E27FC236}">
                    <a16:creationId xmlns:a16="http://schemas.microsoft.com/office/drawing/2014/main" xmlns="" id="{D338A73C-C6A2-44DE-9C11-06B1249DD855}"/>
                  </a:ext>
                </a:extLst>
              </p:cNvPr>
              <p:cNvSpPr>
                <a:spLocks noChangeShapeType="1"/>
              </p:cNvSpPr>
              <p:nvPr/>
            </p:nvSpPr>
            <p:spPr bwMode="auto">
              <a:xfrm>
                <a:off x="10566400" y="1155701"/>
                <a:ext cx="0" cy="0"/>
              </a:xfrm>
              <a:prstGeom prst="line">
                <a:avLst/>
              </a:prstGeom>
              <a:noFill/>
              <a:ln w="3175"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Freeform 121">
                <a:extLst>
                  <a:ext uri="{FF2B5EF4-FFF2-40B4-BE49-F238E27FC236}">
                    <a16:creationId xmlns:a16="http://schemas.microsoft.com/office/drawing/2014/main" xmlns="" id="{B2691C39-081A-49B3-9B40-935D36EC324B}"/>
                  </a:ext>
                </a:extLst>
              </p:cNvPr>
              <p:cNvSpPr>
                <a:spLocks noEditPoints="1"/>
              </p:cNvSpPr>
              <p:nvPr/>
            </p:nvSpPr>
            <p:spPr bwMode="auto">
              <a:xfrm>
                <a:off x="10461625" y="923926"/>
                <a:ext cx="209550" cy="228600"/>
              </a:xfrm>
              <a:custGeom>
                <a:avLst/>
                <a:gdLst>
                  <a:gd name="T0" fmla="*/ 48 w 62"/>
                  <a:gd name="T1" fmla="*/ 0 h 67"/>
                  <a:gd name="T2" fmla="*/ 31 w 62"/>
                  <a:gd name="T3" fmla="*/ 10 h 67"/>
                  <a:gd name="T4" fmla="*/ 13 w 62"/>
                  <a:gd name="T5" fmla="*/ 0 h 67"/>
                  <a:gd name="T6" fmla="*/ 0 w 62"/>
                  <a:gd name="T7" fmla="*/ 14 h 67"/>
                  <a:gd name="T8" fmla="*/ 13 w 62"/>
                  <a:gd name="T9" fmla="*/ 28 h 67"/>
                  <a:gd name="T10" fmla="*/ 13 w 62"/>
                  <a:gd name="T11" fmla="*/ 28 h 67"/>
                  <a:gd name="T12" fmla="*/ 21 w 62"/>
                  <a:gd name="T13" fmla="*/ 26 h 67"/>
                  <a:gd name="T14" fmla="*/ 21 w 62"/>
                  <a:gd name="T15" fmla="*/ 67 h 67"/>
                  <a:gd name="T16" fmla="*/ 26 w 62"/>
                  <a:gd name="T17" fmla="*/ 67 h 67"/>
                  <a:gd name="T18" fmla="*/ 26 w 62"/>
                  <a:gd name="T19" fmla="*/ 23 h 67"/>
                  <a:gd name="T20" fmla="*/ 31 w 62"/>
                  <a:gd name="T21" fmla="*/ 18 h 67"/>
                  <a:gd name="T22" fmla="*/ 36 w 62"/>
                  <a:gd name="T23" fmla="*/ 23 h 67"/>
                  <a:gd name="T24" fmla="*/ 36 w 62"/>
                  <a:gd name="T25" fmla="*/ 67 h 67"/>
                  <a:gd name="T26" fmla="*/ 41 w 62"/>
                  <a:gd name="T27" fmla="*/ 67 h 67"/>
                  <a:gd name="T28" fmla="*/ 41 w 62"/>
                  <a:gd name="T29" fmla="*/ 26 h 67"/>
                  <a:gd name="T30" fmla="*/ 48 w 62"/>
                  <a:gd name="T31" fmla="*/ 28 h 67"/>
                  <a:gd name="T32" fmla="*/ 49 w 62"/>
                  <a:gd name="T33" fmla="*/ 28 h 67"/>
                  <a:gd name="T34" fmla="*/ 58 w 62"/>
                  <a:gd name="T35" fmla="*/ 24 h 67"/>
                  <a:gd name="T36" fmla="*/ 62 w 62"/>
                  <a:gd name="T37" fmla="*/ 14 h 67"/>
                  <a:gd name="T38" fmla="*/ 48 w 62"/>
                  <a:gd name="T39" fmla="*/ 0 h 67"/>
                  <a:gd name="T40" fmla="*/ 13 w 62"/>
                  <a:gd name="T41" fmla="*/ 23 h 67"/>
                  <a:gd name="T42" fmla="*/ 13 w 62"/>
                  <a:gd name="T43" fmla="*/ 23 h 67"/>
                  <a:gd name="T44" fmla="*/ 4 w 62"/>
                  <a:gd name="T45" fmla="*/ 14 h 67"/>
                  <a:gd name="T46" fmla="*/ 13 w 62"/>
                  <a:gd name="T47" fmla="*/ 6 h 67"/>
                  <a:gd name="T48" fmla="*/ 28 w 62"/>
                  <a:gd name="T49" fmla="*/ 14 h 67"/>
                  <a:gd name="T50" fmla="*/ 13 w 62"/>
                  <a:gd name="T51" fmla="*/ 23 h 67"/>
                  <a:gd name="T52" fmla="*/ 54 w 62"/>
                  <a:gd name="T53" fmla="*/ 20 h 67"/>
                  <a:gd name="T54" fmla="*/ 49 w 62"/>
                  <a:gd name="T55" fmla="*/ 23 h 67"/>
                  <a:gd name="T56" fmla="*/ 48 w 62"/>
                  <a:gd name="T57" fmla="*/ 23 h 67"/>
                  <a:gd name="T58" fmla="*/ 34 w 62"/>
                  <a:gd name="T59" fmla="*/ 14 h 67"/>
                  <a:gd name="T60" fmla="*/ 48 w 62"/>
                  <a:gd name="T61" fmla="*/ 6 h 67"/>
                  <a:gd name="T62" fmla="*/ 57 w 62"/>
                  <a:gd name="T63" fmla="*/ 14 h 67"/>
                  <a:gd name="T64" fmla="*/ 54 w 62"/>
                  <a:gd name="T65"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7">
                    <a:moveTo>
                      <a:pt x="48" y="0"/>
                    </a:moveTo>
                    <a:cubicBezTo>
                      <a:pt x="48" y="0"/>
                      <a:pt x="39" y="0"/>
                      <a:pt x="31" y="10"/>
                    </a:cubicBezTo>
                    <a:cubicBezTo>
                      <a:pt x="22" y="0"/>
                      <a:pt x="14" y="0"/>
                      <a:pt x="13" y="0"/>
                    </a:cubicBezTo>
                    <a:cubicBezTo>
                      <a:pt x="6" y="0"/>
                      <a:pt x="0" y="7"/>
                      <a:pt x="0" y="14"/>
                    </a:cubicBezTo>
                    <a:cubicBezTo>
                      <a:pt x="0" y="22"/>
                      <a:pt x="6" y="28"/>
                      <a:pt x="13" y="28"/>
                    </a:cubicBezTo>
                    <a:cubicBezTo>
                      <a:pt x="13" y="28"/>
                      <a:pt x="13" y="28"/>
                      <a:pt x="13" y="28"/>
                    </a:cubicBezTo>
                    <a:cubicBezTo>
                      <a:pt x="16" y="28"/>
                      <a:pt x="19" y="28"/>
                      <a:pt x="21" y="26"/>
                    </a:cubicBezTo>
                    <a:cubicBezTo>
                      <a:pt x="21" y="67"/>
                      <a:pt x="21" y="67"/>
                      <a:pt x="21" y="67"/>
                    </a:cubicBezTo>
                    <a:cubicBezTo>
                      <a:pt x="26" y="67"/>
                      <a:pt x="26" y="67"/>
                      <a:pt x="26" y="67"/>
                    </a:cubicBezTo>
                    <a:cubicBezTo>
                      <a:pt x="26" y="23"/>
                      <a:pt x="26" y="23"/>
                      <a:pt x="26" y="23"/>
                    </a:cubicBezTo>
                    <a:cubicBezTo>
                      <a:pt x="28" y="22"/>
                      <a:pt x="30" y="20"/>
                      <a:pt x="31" y="18"/>
                    </a:cubicBezTo>
                    <a:cubicBezTo>
                      <a:pt x="32" y="20"/>
                      <a:pt x="34" y="22"/>
                      <a:pt x="36" y="23"/>
                    </a:cubicBezTo>
                    <a:cubicBezTo>
                      <a:pt x="36" y="67"/>
                      <a:pt x="36" y="67"/>
                      <a:pt x="36" y="67"/>
                    </a:cubicBezTo>
                    <a:cubicBezTo>
                      <a:pt x="41" y="67"/>
                      <a:pt x="41" y="67"/>
                      <a:pt x="41" y="67"/>
                    </a:cubicBezTo>
                    <a:cubicBezTo>
                      <a:pt x="41" y="26"/>
                      <a:pt x="41" y="26"/>
                      <a:pt x="41" y="26"/>
                    </a:cubicBezTo>
                    <a:cubicBezTo>
                      <a:pt x="43" y="28"/>
                      <a:pt x="45" y="28"/>
                      <a:pt x="48" y="28"/>
                    </a:cubicBezTo>
                    <a:cubicBezTo>
                      <a:pt x="49" y="28"/>
                      <a:pt x="49" y="28"/>
                      <a:pt x="49" y="28"/>
                    </a:cubicBezTo>
                    <a:cubicBezTo>
                      <a:pt x="52" y="28"/>
                      <a:pt x="56" y="27"/>
                      <a:pt x="58" y="24"/>
                    </a:cubicBezTo>
                    <a:cubicBezTo>
                      <a:pt x="61" y="22"/>
                      <a:pt x="62" y="18"/>
                      <a:pt x="62" y="14"/>
                    </a:cubicBezTo>
                    <a:cubicBezTo>
                      <a:pt x="62" y="7"/>
                      <a:pt x="56" y="0"/>
                      <a:pt x="48" y="0"/>
                    </a:cubicBezTo>
                    <a:close/>
                    <a:moveTo>
                      <a:pt x="13" y="23"/>
                    </a:moveTo>
                    <a:cubicBezTo>
                      <a:pt x="13" y="23"/>
                      <a:pt x="13" y="23"/>
                      <a:pt x="13" y="23"/>
                    </a:cubicBezTo>
                    <a:cubicBezTo>
                      <a:pt x="9" y="23"/>
                      <a:pt x="4" y="19"/>
                      <a:pt x="4" y="14"/>
                    </a:cubicBezTo>
                    <a:cubicBezTo>
                      <a:pt x="4" y="9"/>
                      <a:pt x="9" y="6"/>
                      <a:pt x="13" y="6"/>
                    </a:cubicBezTo>
                    <a:cubicBezTo>
                      <a:pt x="14" y="6"/>
                      <a:pt x="21" y="6"/>
                      <a:pt x="28" y="14"/>
                    </a:cubicBezTo>
                    <a:cubicBezTo>
                      <a:pt x="26" y="17"/>
                      <a:pt x="20" y="23"/>
                      <a:pt x="13" y="23"/>
                    </a:cubicBezTo>
                    <a:close/>
                    <a:moveTo>
                      <a:pt x="54" y="20"/>
                    </a:moveTo>
                    <a:cubicBezTo>
                      <a:pt x="53" y="22"/>
                      <a:pt x="51" y="23"/>
                      <a:pt x="49" y="23"/>
                    </a:cubicBezTo>
                    <a:cubicBezTo>
                      <a:pt x="48" y="23"/>
                      <a:pt x="48" y="23"/>
                      <a:pt x="48" y="23"/>
                    </a:cubicBezTo>
                    <a:cubicBezTo>
                      <a:pt x="42" y="23"/>
                      <a:pt x="36" y="17"/>
                      <a:pt x="34" y="14"/>
                    </a:cubicBezTo>
                    <a:cubicBezTo>
                      <a:pt x="41" y="6"/>
                      <a:pt x="48" y="6"/>
                      <a:pt x="48" y="6"/>
                    </a:cubicBezTo>
                    <a:cubicBezTo>
                      <a:pt x="53" y="6"/>
                      <a:pt x="57" y="9"/>
                      <a:pt x="57" y="14"/>
                    </a:cubicBezTo>
                    <a:cubicBezTo>
                      <a:pt x="57" y="17"/>
                      <a:pt x="56" y="19"/>
                      <a:pt x="5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6" name="Groupe 385">
            <a:extLst>
              <a:ext uri="{FF2B5EF4-FFF2-40B4-BE49-F238E27FC236}">
                <a16:creationId xmlns:a16="http://schemas.microsoft.com/office/drawing/2014/main" xmlns="" id="{AE8CB5F1-7DA8-4E34-98DF-35C7B142FE52}"/>
              </a:ext>
            </a:extLst>
          </p:cNvPr>
          <p:cNvGrpSpPr>
            <a:grpSpLocks noChangeAspect="1"/>
          </p:cNvGrpSpPr>
          <p:nvPr/>
        </p:nvGrpSpPr>
        <p:grpSpPr>
          <a:xfrm>
            <a:off x="4206974" y="1274501"/>
            <a:ext cx="747430" cy="720000"/>
            <a:chOff x="8826501" y="4241801"/>
            <a:chExt cx="865188" cy="833438"/>
          </a:xfrm>
        </p:grpSpPr>
        <p:sp>
          <p:nvSpPr>
            <p:cNvPr id="387" name="Freeform 271">
              <a:extLst>
                <a:ext uri="{FF2B5EF4-FFF2-40B4-BE49-F238E27FC236}">
                  <a16:creationId xmlns:a16="http://schemas.microsoft.com/office/drawing/2014/main" xmlns="" id="{65A281AB-C66A-4363-9B8E-BCEF8B1BE341}"/>
                </a:ext>
              </a:extLst>
            </p:cNvPr>
            <p:cNvSpPr>
              <a:spLocks/>
            </p:cNvSpPr>
            <p:nvPr/>
          </p:nvSpPr>
          <p:spPr bwMode="auto">
            <a:xfrm>
              <a:off x="8826501" y="4241801"/>
              <a:ext cx="865188" cy="833438"/>
            </a:xfrm>
            <a:custGeom>
              <a:avLst/>
              <a:gdLst>
                <a:gd name="T0" fmla="*/ 0 w 256"/>
                <a:gd name="T1" fmla="*/ 121 h 246"/>
                <a:gd name="T2" fmla="*/ 128 w 256"/>
                <a:gd name="T3" fmla="*/ 0 h 246"/>
                <a:gd name="T4" fmla="*/ 256 w 256"/>
                <a:gd name="T5" fmla="*/ 121 h 246"/>
                <a:gd name="T6" fmla="*/ 128 w 256"/>
                <a:gd name="T7" fmla="*/ 242 h 246"/>
                <a:gd name="T8" fmla="*/ 0 w 256"/>
                <a:gd name="T9" fmla="*/ 121 h 246"/>
              </a:gdLst>
              <a:ahLst/>
              <a:cxnLst>
                <a:cxn ang="0">
                  <a:pos x="T0" y="T1"/>
                </a:cxn>
                <a:cxn ang="0">
                  <a:pos x="T2" y="T3"/>
                </a:cxn>
                <a:cxn ang="0">
                  <a:pos x="T4" y="T5"/>
                </a:cxn>
                <a:cxn ang="0">
                  <a:pos x="T6" y="T7"/>
                </a:cxn>
                <a:cxn ang="0">
                  <a:pos x="T8" y="T9"/>
                </a:cxn>
              </a:cxnLst>
              <a:rect l="0" t="0" r="r" b="b"/>
              <a:pathLst>
                <a:path w="256" h="246">
                  <a:moveTo>
                    <a:pt x="0" y="121"/>
                  </a:moveTo>
                  <a:cubicBezTo>
                    <a:pt x="0" y="54"/>
                    <a:pt x="60" y="1"/>
                    <a:pt x="128" y="0"/>
                  </a:cubicBezTo>
                  <a:cubicBezTo>
                    <a:pt x="204" y="0"/>
                    <a:pt x="256" y="54"/>
                    <a:pt x="256" y="121"/>
                  </a:cubicBezTo>
                  <a:cubicBezTo>
                    <a:pt x="256" y="188"/>
                    <a:pt x="183" y="238"/>
                    <a:pt x="128" y="242"/>
                  </a:cubicBezTo>
                  <a:cubicBezTo>
                    <a:pt x="51" y="246"/>
                    <a:pt x="0" y="188"/>
                    <a:pt x="0" y="121"/>
                  </a:cubicBezTo>
                  <a:close/>
                </a:path>
              </a:pathLst>
            </a:custGeom>
            <a:solidFill>
              <a:srgbClr val="1563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8" name="Groupe 387">
              <a:extLst>
                <a:ext uri="{FF2B5EF4-FFF2-40B4-BE49-F238E27FC236}">
                  <a16:creationId xmlns:a16="http://schemas.microsoft.com/office/drawing/2014/main" xmlns="" id="{A6ADF85E-8D45-473B-A973-8A5F4E4E0176}"/>
                </a:ext>
              </a:extLst>
            </p:cNvPr>
            <p:cNvGrpSpPr/>
            <p:nvPr/>
          </p:nvGrpSpPr>
          <p:grpSpPr>
            <a:xfrm>
              <a:off x="9078913" y="4414838"/>
              <a:ext cx="352426" cy="549276"/>
              <a:chOff x="9078913" y="4414838"/>
              <a:chExt cx="352426" cy="549276"/>
            </a:xfrm>
          </p:grpSpPr>
          <p:sp>
            <p:nvSpPr>
              <p:cNvPr id="389" name="Freeform 272">
                <a:extLst>
                  <a:ext uri="{FF2B5EF4-FFF2-40B4-BE49-F238E27FC236}">
                    <a16:creationId xmlns:a16="http://schemas.microsoft.com/office/drawing/2014/main" xmlns="" id="{88C7B92D-B93D-4DF9-ACBA-6DB2DB5C7089}"/>
                  </a:ext>
                </a:extLst>
              </p:cNvPr>
              <p:cNvSpPr>
                <a:spLocks/>
              </p:cNvSpPr>
              <p:nvPr/>
            </p:nvSpPr>
            <p:spPr bwMode="auto">
              <a:xfrm>
                <a:off x="9228138" y="4949826"/>
                <a:ext cx="50800" cy="14288"/>
              </a:xfrm>
              <a:custGeom>
                <a:avLst/>
                <a:gdLst>
                  <a:gd name="T0" fmla="*/ 0 w 15"/>
                  <a:gd name="T1" fmla="*/ 0 h 4"/>
                  <a:gd name="T2" fmla="*/ 0 w 15"/>
                  <a:gd name="T3" fmla="*/ 2 h 4"/>
                  <a:gd name="T4" fmla="*/ 3 w 15"/>
                  <a:gd name="T5" fmla="*/ 4 h 4"/>
                  <a:gd name="T6" fmla="*/ 13 w 15"/>
                  <a:gd name="T7" fmla="*/ 4 h 4"/>
                  <a:gd name="T8" fmla="*/ 15 w 15"/>
                  <a:gd name="T9" fmla="*/ 2 h 4"/>
                  <a:gd name="T10" fmla="*/ 15 w 15"/>
                  <a:gd name="T11" fmla="*/ 0 h 4"/>
                  <a:gd name="T12" fmla="*/ 0 w 15"/>
                  <a:gd name="T13" fmla="*/ 0 h 4"/>
                  <a:gd name="T14" fmla="*/ 0 w 1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4">
                    <a:moveTo>
                      <a:pt x="0" y="0"/>
                    </a:moveTo>
                    <a:cubicBezTo>
                      <a:pt x="0" y="2"/>
                      <a:pt x="0" y="2"/>
                      <a:pt x="0" y="2"/>
                    </a:cubicBezTo>
                    <a:cubicBezTo>
                      <a:pt x="0" y="3"/>
                      <a:pt x="1" y="4"/>
                      <a:pt x="3" y="4"/>
                    </a:cubicBezTo>
                    <a:cubicBezTo>
                      <a:pt x="13" y="4"/>
                      <a:pt x="13" y="4"/>
                      <a:pt x="13" y="4"/>
                    </a:cubicBezTo>
                    <a:cubicBezTo>
                      <a:pt x="14" y="4"/>
                      <a:pt x="15" y="3"/>
                      <a:pt x="15" y="2"/>
                    </a:cubicBezTo>
                    <a:cubicBezTo>
                      <a:pt x="15" y="0"/>
                      <a:pt x="15" y="0"/>
                      <a:pt x="15" y="0"/>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73">
                <a:extLst>
                  <a:ext uri="{FF2B5EF4-FFF2-40B4-BE49-F238E27FC236}">
                    <a16:creationId xmlns:a16="http://schemas.microsoft.com/office/drawing/2014/main" xmlns="" id="{1B9828F4-BD90-49DC-B98F-DCBA5D01831C}"/>
                  </a:ext>
                </a:extLst>
              </p:cNvPr>
              <p:cNvSpPr>
                <a:spLocks/>
              </p:cNvSpPr>
              <p:nvPr/>
            </p:nvSpPr>
            <p:spPr bwMode="auto">
              <a:xfrm>
                <a:off x="9197976" y="4875213"/>
                <a:ext cx="114300" cy="20638"/>
              </a:xfrm>
              <a:custGeom>
                <a:avLst/>
                <a:gdLst>
                  <a:gd name="T0" fmla="*/ 72 w 72"/>
                  <a:gd name="T1" fmla="*/ 0 h 13"/>
                  <a:gd name="T2" fmla="*/ 72 w 72"/>
                  <a:gd name="T3" fmla="*/ 13 h 13"/>
                  <a:gd name="T4" fmla="*/ 0 w 72"/>
                  <a:gd name="T5" fmla="*/ 7 h 13"/>
                  <a:gd name="T6" fmla="*/ 0 w 72"/>
                  <a:gd name="T7" fmla="*/ 0 h 13"/>
                  <a:gd name="T8" fmla="*/ 72 w 72"/>
                  <a:gd name="T9" fmla="*/ 0 h 13"/>
                  <a:gd name="T10" fmla="*/ 72 w 72"/>
                  <a:gd name="T11" fmla="*/ 0 h 13"/>
                  <a:gd name="T12" fmla="*/ 72 w 7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2" h="13">
                    <a:moveTo>
                      <a:pt x="72" y="0"/>
                    </a:moveTo>
                    <a:lnTo>
                      <a:pt x="72" y="13"/>
                    </a:lnTo>
                    <a:lnTo>
                      <a:pt x="0" y="7"/>
                    </a:lnTo>
                    <a:lnTo>
                      <a:pt x="0" y="0"/>
                    </a:lnTo>
                    <a:lnTo>
                      <a:pt x="72" y="0"/>
                    </a:lnTo>
                    <a:lnTo>
                      <a:pt x="72" y="0"/>
                    </a:lnTo>
                    <a:lnTo>
                      <a:pt x="72" y="0"/>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74">
                <a:extLst>
                  <a:ext uri="{FF2B5EF4-FFF2-40B4-BE49-F238E27FC236}">
                    <a16:creationId xmlns:a16="http://schemas.microsoft.com/office/drawing/2014/main" xmlns="" id="{445E6153-3176-435A-B37B-829485D809FA}"/>
                  </a:ext>
                </a:extLst>
              </p:cNvPr>
              <p:cNvSpPr>
                <a:spLocks/>
              </p:cNvSpPr>
              <p:nvPr/>
            </p:nvSpPr>
            <p:spPr bwMode="auto">
              <a:xfrm>
                <a:off x="9197976" y="4895851"/>
                <a:ext cx="114300" cy="26988"/>
              </a:xfrm>
              <a:custGeom>
                <a:avLst/>
                <a:gdLst>
                  <a:gd name="T0" fmla="*/ 72 w 72"/>
                  <a:gd name="T1" fmla="*/ 6 h 17"/>
                  <a:gd name="T2" fmla="*/ 72 w 72"/>
                  <a:gd name="T3" fmla="*/ 17 h 17"/>
                  <a:gd name="T4" fmla="*/ 0 w 72"/>
                  <a:gd name="T5" fmla="*/ 11 h 17"/>
                  <a:gd name="T6" fmla="*/ 0 w 72"/>
                  <a:gd name="T7" fmla="*/ 0 h 17"/>
                  <a:gd name="T8" fmla="*/ 72 w 72"/>
                  <a:gd name="T9" fmla="*/ 6 h 17"/>
                  <a:gd name="T10" fmla="*/ 72 w 72"/>
                  <a:gd name="T11" fmla="*/ 6 h 17"/>
                  <a:gd name="T12" fmla="*/ 72 w 72"/>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72" h="17">
                    <a:moveTo>
                      <a:pt x="72" y="6"/>
                    </a:moveTo>
                    <a:lnTo>
                      <a:pt x="72" y="17"/>
                    </a:lnTo>
                    <a:lnTo>
                      <a:pt x="0" y="11"/>
                    </a:lnTo>
                    <a:lnTo>
                      <a:pt x="0" y="0"/>
                    </a:lnTo>
                    <a:lnTo>
                      <a:pt x="72" y="6"/>
                    </a:lnTo>
                    <a:lnTo>
                      <a:pt x="72" y="6"/>
                    </a:lnTo>
                    <a:lnTo>
                      <a:pt x="72" y="6"/>
                    </a:ln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75">
                <a:extLst>
                  <a:ext uri="{FF2B5EF4-FFF2-40B4-BE49-F238E27FC236}">
                    <a16:creationId xmlns:a16="http://schemas.microsoft.com/office/drawing/2014/main" xmlns="" id="{7AFBE60F-7C3C-4210-84F1-B54EFF6944A3}"/>
                  </a:ext>
                </a:extLst>
              </p:cNvPr>
              <p:cNvSpPr>
                <a:spLocks/>
              </p:cNvSpPr>
              <p:nvPr/>
            </p:nvSpPr>
            <p:spPr bwMode="auto">
              <a:xfrm>
                <a:off x="9197976" y="4922838"/>
                <a:ext cx="114300" cy="17463"/>
              </a:xfrm>
              <a:custGeom>
                <a:avLst/>
                <a:gdLst>
                  <a:gd name="T0" fmla="*/ 0 w 34"/>
                  <a:gd name="T1" fmla="*/ 0 h 5"/>
                  <a:gd name="T2" fmla="*/ 34 w 34"/>
                  <a:gd name="T3" fmla="*/ 2 h 5"/>
                  <a:gd name="T4" fmla="*/ 34 w 34"/>
                  <a:gd name="T5" fmla="*/ 3 h 5"/>
                  <a:gd name="T6" fmla="*/ 31 w 34"/>
                  <a:gd name="T7" fmla="*/ 5 h 5"/>
                  <a:gd name="T8" fmla="*/ 3 w 34"/>
                  <a:gd name="T9" fmla="*/ 5 h 5"/>
                  <a:gd name="T10" fmla="*/ 0 w 34"/>
                  <a:gd name="T11" fmla="*/ 3 h 5"/>
                  <a:gd name="T12" fmla="*/ 0 w 34"/>
                  <a:gd name="T13" fmla="*/ 0 h 5"/>
                  <a:gd name="T14" fmla="*/ 0 w 3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
                    <a:moveTo>
                      <a:pt x="0" y="0"/>
                    </a:moveTo>
                    <a:cubicBezTo>
                      <a:pt x="34" y="2"/>
                      <a:pt x="34" y="2"/>
                      <a:pt x="34" y="2"/>
                    </a:cubicBezTo>
                    <a:cubicBezTo>
                      <a:pt x="34" y="3"/>
                      <a:pt x="34" y="3"/>
                      <a:pt x="34" y="3"/>
                    </a:cubicBezTo>
                    <a:cubicBezTo>
                      <a:pt x="34" y="4"/>
                      <a:pt x="33" y="5"/>
                      <a:pt x="31" y="5"/>
                    </a:cubicBezTo>
                    <a:cubicBezTo>
                      <a:pt x="3" y="5"/>
                      <a:pt x="3" y="5"/>
                      <a:pt x="3" y="5"/>
                    </a:cubicBezTo>
                    <a:cubicBezTo>
                      <a:pt x="1" y="5"/>
                      <a:pt x="0" y="4"/>
                      <a:pt x="0" y="3"/>
                    </a:cubicBezTo>
                    <a:cubicBezTo>
                      <a:pt x="0" y="0"/>
                      <a:pt x="0" y="0"/>
                      <a:pt x="0" y="0"/>
                    </a:cubicBezTo>
                    <a:cubicBezTo>
                      <a:pt x="0" y="0"/>
                      <a:pt x="0" y="0"/>
                      <a:pt x="0" y="0"/>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76">
                <a:extLst>
                  <a:ext uri="{FF2B5EF4-FFF2-40B4-BE49-F238E27FC236}">
                    <a16:creationId xmlns:a16="http://schemas.microsoft.com/office/drawing/2014/main" xmlns="" id="{3A7E5B07-6345-40C5-960F-4D5E5089923B}"/>
                  </a:ext>
                </a:extLst>
              </p:cNvPr>
              <p:cNvSpPr>
                <a:spLocks/>
              </p:cNvSpPr>
              <p:nvPr/>
            </p:nvSpPr>
            <p:spPr bwMode="auto">
              <a:xfrm>
                <a:off x="9188451" y="4414838"/>
                <a:ext cx="242888" cy="450850"/>
              </a:xfrm>
              <a:custGeom>
                <a:avLst/>
                <a:gdLst>
                  <a:gd name="T0" fmla="*/ 70 w 72"/>
                  <a:gd name="T1" fmla="*/ 54 h 133"/>
                  <a:gd name="T2" fmla="*/ 67 w 72"/>
                  <a:gd name="T3" fmla="*/ 65 h 133"/>
                  <a:gd name="T4" fmla="*/ 64 w 72"/>
                  <a:gd name="T5" fmla="*/ 73 h 133"/>
                  <a:gd name="T6" fmla="*/ 55 w 72"/>
                  <a:gd name="T7" fmla="*/ 89 h 133"/>
                  <a:gd name="T8" fmla="*/ 45 w 72"/>
                  <a:gd name="T9" fmla="*/ 108 h 133"/>
                  <a:gd name="T10" fmla="*/ 42 w 72"/>
                  <a:gd name="T11" fmla="*/ 125 h 133"/>
                  <a:gd name="T12" fmla="*/ 42 w 72"/>
                  <a:gd name="T13" fmla="*/ 125 h 133"/>
                  <a:gd name="T14" fmla="*/ 37 w 72"/>
                  <a:gd name="T15" fmla="*/ 133 h 133"/>
                  <a:gd name="T16" fmla="*/ 22 w 72"/>
                  <a:gd name="T17" fmla="*/ 133 h 133"/>
                  <a:gd name="T18" fmla="*/ 22 w 72"/>
                  <a:gd name="T19" fmla="*/ 110 h 133"/>
                  <a:gd name="T20" fmla="*/ 22 w 72"/>
                  <a:gd name="T21" fmla="*/ 110 h 133"/>
                  <a:gd name="T22" fmla="*/ 17 w 72"/>
                  <a:gd name="T23" fmla="*/ 104 h 133"/>
                  <a:gd name="T24" fmla="*/ 17 w 72"/>
                  <a:gd name="T25" fmla="*/ 104 h 133"/>
                  <a:gd name="T26" fmla="*/ 16 w 72"/>
                  <a:gd name="T27" fmla="*/ 104 h 133"/>
                  <a:gd name="T28" fmla="*/ 16 w 72"/>
                  <a:gd name="T29" fmla="*/ 104 h 133"/>
                  <a:gd name="T30" fmla="*/ 13 w 72"/>
                  <a:gd name="T31" fmla="*/ 106 h 133"/>
                  <a:gd name="T32" fmla="*/ 8 w 72"/>
                  <a:gd name="T33" fmla="*/ 108 h 133"/>
                  <a:gd name="T34" fmla="*/ 0 w 72"/>
                  <a:gd name="T35" fmla="*/ 100 h 133"/>
                  <a:gd name="T36" fmla="*/ 8 w 72"/>
                  <a:gd name="T37" fmla="*/ 92 h 133"/>
                  <a:gd name="T38" fmla="*/ 13 w 72"/>
                  <a:gd name="T39" fmla="*/ 94 h 133"/>
                  <a:gd name="T40" fmla="*/ 13 w 72"/>
                  <a:gd name="T41" fmla="*/ 94 h 133"/>
                  <a:gd name="T42" fmla="*/ 16 w 72"/>
                  <a:gd name="T43" fmla="*/ 96 h 133"/>
                  <a:gd name="T44" fmla="*/ 16 w 72"/>
                  <a:gd name="T45" fmla="*/ 96 h 133"/>
                  <a:gd name="T46" fmla="*/ 16 w 72"/>
                  <a:gd name="T47" fmla="*/ 96 h 133"/>
                  <a:gd name="T48" fmla="*/ 17 w 72"/>
                  <a:gd name="T49" fmla="*/ 96 h 133"/>
                  <a:gd name="T50" fmla="*/ 22 w 72"/>
                  <a:gd name="T51" fmla="*/ 90 h 133"/>
                  <a:gd name="T52" fmla="*/ 22 w 72"/>
                  <a:gd name="T53" fmla="*/ 90 h 133"/>
                  <a:gd name="T54" fmla="*/ 22 w 72"/>
                  <a:gd name="T55" fmla="*/ 43 h 133"/>
                  <a:gd name="T56" fmla="*/ 24 w 72"/>
                  <a:gd name="T57" fmla="*/ 39 h 133"/>
                  <a:gd name="T58" fmla="*/ 24 w 72"/>
                  <a:gd name="T59" fmla="*/ 39 h 133"/>
                  <a:gd name="T60" fmla="*/ 26 w 72"/>
                  <a:gd name="T61" fmla="*/ 41 h 133"/>
                  <a:gd name="T62" fmla="*/ 26 w 72"/>
                  <a:gd name="T63" fmla="*/ 41 h 133"/>
                  <a:gd name="T64" fmla="*/ 26 w 72"/>
                  <a:gd name="T65" fmla="*/ 41 h 133"/>
                  <a:gd name="T66" fmla="*/ 27 w 72"/>
                  <a:gd name="T67" fmla="*/ 41 h 133"/>
                  <a:gd name="T68" fmla="*/ 34 w 72"/>
                  <a:gd name="T69" fmla="*/ 43 h 133"/>
                  <a:gd name="T70" fmla="*/ 45 w 72"/>
                  <a:gd name="T71" fmla="*/ 33 h 133"/>
                  <a:gd name="T72" fmla="*/ 34 w 72"/>
                  <a:gd name="T73" fmla="*/ 22 h 133"/>
                  <a:gd name="T74" fmla="*/ 27 w 72"/>
                  <a:gd name="T75" fmla="*/ 24 h 133"/>
                  <a:gd name="T76" fmla="*/ 24 w 72"/>
                  <a:gd name="T77" fmla="*/ 26 h 133"/>
                  <a:gd name="T78" fmla="*/ 24 w 72"/>
                  <a:gd name="T79" fmla="*/ 26 h 133"/>
                  <a:gd name="T80" fmla="*/ 22 w 72"/>
                  <a:gd name="T81" fmla="*/ 22 h 133"/>
                  <a:gd name="T82" fmla="*/ 22 w 72"/>
                  <a:gd name="T83" fmla="*/ 0 h 133"/>
                  <a:gd name="T84" fmla="*/ 48 w 72"/>
                  <a:gd name="T85" fmla="*/ 7 h 133"/>
                  <a:gd name="T86" fmla="*/ 60 w 72"/>
                  <a:gd name="T87" fmla="*/ 17 h 133"/>
                  <a:gd name="T88" fmla="*/ 70 w 72"/>
                  <a:gd name="T89"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133">
                    <a:moveTo>
                      <a:pt x="70" y="54"/>
                    </a:moveTo>
                    <a:cubicBezTo>
                      <a:pt x="70" y="58"/>
                      <a:pt x="69" y="61"/>
                      <a:pt x="67" y="65"/>
                    </a:cubicBezTo>
                    <a:cubicBezTo>
                      <a:pt x="67" y="65"/>
                      <a:pt x="65" y="71"/>
                      <a:pt x="64" y="73"/>
                    </a:cubicBezTo>
                    <a:cubicBezTo>
                      <a:pt x="55" y="89"/>
                      <a:pt x="55" y="89"/>
                      <a:pt x="55" y="89"/>
                    </a:cubicBezTo>
                    <a:cubicBezTo>
                      <a:pt x="52" y="95"/>
                      <a:pt x="49" y="102"/>
                      <a:pt x="45" y="108"/>
                    </a:cubicBezTo>
                    <a:cubicBezTo>
                      <a:pt x="43" y="114"/>
                      <a:pt x="42" y="119"/>
                      <a:pt x="42" y="125"/>
                    </a:cubicBezTo>
                    <a:cubicBezTo>
                      <a:pt x="42" y="125"/>
                      <a:pt x="42" y="125"/>
                      <a:pt x="42" y="125"/>
                    </a:cubicBezTo>
                    <a:cubicBezTo>
                      <a:pt x="42" y="130"/>
                      <a:pt x="39" y="132"/>
                      <a:pt x="37" y="133"/>
                    </a:cubicBezTo>
                    <a:cubicBezTo>
                      <a:pt x="22" y="133"/>
                      <a:pt x="22" y="133"/>
                      <a:pt x="22" y="133"/>
                    </a:cubicBezTo>
                    <a:cubicBezTo>
                      <a:pt x="22" y="110"/>
                      <a:pt x="22" y="110"/>
                      <a:pt x="22" y="110"/>
                    </a:cubicBezTo>
                    <a:cubicBezTo>
                      <a:pt x="22" y="110"/>
                      <a:pt x="22" y="110"/>
                      <a:pt x="22" y="110"/>
                    </a:cubicBezTo>
                    <a:cubicBezTo>
                      <a:pt x="21" y="105"/>
                      <a:pt x="19" y="104"/>
                      <a:pt x="17" y="104"/>
                    </a:cubicBezTo>
                    <a:cubicBezTo>
                      <a:pt x="17" y="104"/>
                      <a:pt x="17" y="104"/>
                      <a:pt x="17" y="104"/>
                    </a:cubicBezTo>
                    <a:cubicBezTo>
                      <a:pt x="16" y="104"/>
                      <a:pt x="16" y="104"/>
                      <a:pt x="16" y="104"/>
                    </a:cubicBezTo>
                    <a:cubicBezTo>
                      <a:pt x="16" y="104"/>
                      <a:pt x="16" y="104"/>
                      <a:pt x="16" y="104"/>
                    </a:cubicBezTo>
                    <a:cubicBezTo>
                      <a:pt x="15" y="105"/>
                      <a:pt x="13" y="106"/>
                      <a:pt x="13" y="106"/>
                    </a:cubicBezTo>
                    <a:cubicBezTo>
                      <a:pt x="12" y="107"/>
                      <a:pt x="10" y="108"/>
                      <a:pt x="8" y="108"/>
                    </a:cubicBezTo>
                    <a:cubicBezTo>
                      <a:pt x="3" y="108"/>
                      <a:pt x="0" y="104"/>
                      <a:pt x="0" y="100"/>
                    </a:cubicBezTo>
                    <a:cubicBezTo>
                      <a:pt x="0" y="95"/>
                      <a:pt x="3" y="92"/>
                      <a:pt x="8" y="92"/>
                    </a:cubicBezTo>
                    <a:cubicBezTo>
                      <a:pt x="10" y="92"/>
                      <a:pt x="12" y="92"/>
                      <a:pt x="13" y="94"/>
                    </a:cubicBezTo>
                    <a:cubicBezTo>
                      <a:pt x="13" y="94"/>
                      <a:pt x="13" y="94"/>
                      <a:pt x="13" y="94"/>
                    </a:cubicBezTo>
                    <a:cubicBezTo>
                      <a:pt x="14" y="95"/>
                      <a:pt x="16" y="95"/>
                      <a:pt x="16" y="96"/>
                    </a:cubicBezTo>
                    <a:cubicBezTo>
                      <a:pt x="16" y="96"/>
                      <a:pt x="16" y="96"/>
                      <a:pt x="16" y="96"/>
                    </a:cubicBezTo>
                    <a:cubicBezTo>
                      <a:pt x="16" y="96"/>
                      <a:pt x="16" y="96"/>
                      <a:pt x="16" y="96"/>
                    </a:cubicBezTo>
                    <a:cubicBezTo>
                      <a:pt x="17" y="96"/>
                      <a:pt x="17" y="96"/>
                      <a:pt x="17" y="96"/>
                    </a:cubicBezTo>
                    <a:cubicBezTo>
                      <a:pt x="19" y="96"/>
                      <a:pt x="21" y="95"/>
                      <a:pt x="22" y="90"/>
                    </a:cubicBezTo>
                    <a:cubicBezTo>
                      <a:pt x="22" y="90"/>
                      <a:pt x="22" y="90"/>
                      <a:pt x="22" y="90"/>
                    </a:cubicBezTo>
                    <a:cubicBezTo>
                      <a:pt x="22" y="43"/>
                      <a:pt x="22" y="43"/>
                      <a:pt x="22" y="43"/>
                    </a:cubicBezTo>
                    <a:cubicBezTo>
                      <a:pt x="23" y="42"/>
                      <a:pt x="23" y="39"/>
                      <a:pt x="24" y="39"/>
                    </a:cubicBezTo>
                    <a:cubicBezTo>
                      <a:pt x="24" y="39"/>
                      <a:pt x="24" y="39"/>
                      <a:pt x="24" y="39"/>
                    </a:cubicBezTo>
                    <a:cubicBezTo>
                      <a:pt x="24" y="39"/>
                      <a:pt x="25" y="40"/>
                      <a:pt x="26" y="41"/>
                    </a:cubicBezTo>
                    <a:cubicBezTo>
                      <a:pt x="26" y="41"/>
                      <a:pt x="26" y="41"/>
                      <a:pt x="26" y="41"/>
                    </a:cubicBezTo>
                    <a:cubicBezTo>
                      <a:pt x="26" y="41"/>
                      <a:pt x="26" y="41"/>
                      <a:pt x="26" y="41"/>
                    </a:cubicBezTo>
                    <a:cubicBezTo>
                      <a:pt x="27" y="41"/>
                      <a:pt x="27" y="41"/>
                      <a:pt x="27" y="41"/>
                    </a:cubicBezTo>
                    <a:cubicBezTo>
                      <a:pt x="28" y="43"/>
                      <a:pt x="31" y="43"/>
                      <a:pt x="34" y="43"/>
                    </a:cubicBezTo>
                    <a:cubicBezTo>
                      <a:pt x="39" y="43"/>
                      <a:pt x="45" y="39"/>
                      <a:pt x="45" y="33"/>
                    </a:cubicBezTo>
                    <a:cubicBezTo>
                      <a:pt x="45" y="26"/>
                      <a:pt x="39" y="22"/>
                      <a:pt x="34" y="22"/>
                    </a:cubicBezTo>
                    <a:cubicBezTo>
                      <a:pt x="31" y="22"/>
                      <a:pt x="28" y="22"/>
                      <a:pt x="27" y="24"/>
                    </a:cubicBezTo>
                    <a:cubicBezTo>
                      <a:pt x="25" y="25"/>
                      <a:pt x="24" y="26"/>
                      <a:pt x="24" y="26"/>
                    </a:cubicBezTo>
                    <a:cubicBezTo>
                      <a:pt x="24" y="26"/>
                      <a:pt x="24" y="26"/>
                      <a:pt x="24" y="26"/>
                    </a:cubicBezTo>
                    <a:cubicBezTo>
                      <a:pt x="23" y="26"/>
                      <a:pt x="23" y="23"/>
                      <a:pt x="22" y="22"/>
                    </a:cubicBezTo>
                    <a:cubicBezTo>
                      <a:pt x="22" y="0"/>
                      <a:pt x="22" y="0"/>
                      <a:pt x="22" y="0"/>
                    </a:cubicBezTo>
                    <a:cubicBezTo>
                      <a:pt x="31" y="0"/>
                      <a:pt x="40" y="2"/>
                      <a:pt x="48" y="7"/>
                    </a:cubicBezTo>
                    <a:cubicBezTo>
                      <a:pt x="53" y="10"/>
                      <a:pt x="57" y="13"/>
                      <a:pt x="60" y="17"/>
                    </a:cubicBezTo>
                    <a:cubicBezTo>
                      <a:pt x="67" y="26"/>
                      <a:pt x="72" y="37"/>
                      <a:pt x="70" y="54"/>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77">
                <a:extLst>
                  <a:ext uri="{FF2B5EF4-FFF2-40B4-BE49-F238E27FC236}">
                    <a16:creationId xmlns:a16="http://schemas.microsoft.com/office/drawing/2014/main" xmlns="" id="{9B82155B-B77A-416D-808F-53F03F787EE7}"/>
                  </a:ext>
                </a:extLst>
              </p:cNvPr>
              <p:cNvSpPr>
                <a:spLocks/>
              </p:cNvSpPr>
              <p:nvPr/>
            </p:nvSpPr>
            <p:spPr bwMode="auto">
              <a:xfrm>
                <a:off x="9078913" y="4414838"/>
                <a:ext cx="247650" cy="450850"/>
              </a:xfrm>
              <a:custGeom>
                <a:avLst/>
                <a:gdLst>
                  <a:gd name="T0" fmla="*/ 65 w 73"/>
                  <a:gd name="T1" fmla="*/ 24 h 133"/>
                  <a:gd name="T2" fmla="*/ 60 w 73"/>
                  <a:gd name="T3" fmla="*/ 26 h 133"/>
                  <a:gd name="T4" fmla="*/ 56 w 73"/>
                  <a:gd name="T5" fmla="*/ 28 h 133"/>
                  <a:gd name="T6" fmla="*/ 55 w 73"/>
                  <a:gd name="T7" fmla="*/ 28 h 133"/>
                  <a:gd name="T8" fmla="*/ 51 w 73"/>
                  <a:gd name="T9" fmla="*/ 23 h 133"/>
                  <a:gd name="T10" fmla="*/ 51 w 73"/>
                  <a:gd name="T11" fmla="*/ 23 h 133"/>
                  <a:gd name="T12" fmla="*/ 51 w 73"/>
                  <a:gd name="T13" fmla="*/ 0 h 133"/>
                  <a:gd name="T14" fmla="*/ 25 w 73"/>
                  <a:gd name="T15" fmla="*/ 7 h 133"/>
                  <a:gd name="T16" fmla="*/ 13 w 73"/>
                  <a:gd name="T17" fmla="*/ 17 h 133"/>
                  <a:gd name="T18" fmla="*/ 3 w 73"/>
                  <a:gd name="T19" fmla="*/ 55 h 133"/>
                  <a:gd name="T20" fmla="*/ 6 w 73"/>
                  <a:gd name="T21" fmla="*/ 68 h 133"/>
                  <a:gd name="T22" fmla="*/ 27 w 73"/>
                  <a:gd name="T23" fmla="*/ 109 h 133"/>
                  <a:gd name="T24" fmla="*/ 31 w 73"/>
                  <a:gd name="T25" fmla="*/ 125 h 133"/>
                  <a:gd name="T26" fmla="*/ 31 w 73"/>
                  <a:gd name="T27" fmla="*/ 125 h 133"/>
                  <a:gd name="T28" fmla="*/ 36 w 73"/>
                  <a:gd name="T29" fmla="*/ 133 h 133"/>
                  <a:gd name="T30" fmla="*/ 51 w 73"/>
                  <a:gd name="T31" fmla="*/ 133 h 133"/>
                  <a:gd name="T32" fmla="*/ 51 w 73"/>
                  <a:gd name="T33" fmla="*/ 111 h 133"/>
                  <a:gd name="T34" fmla="*/ 51 w 73"/>
                  <a:gd name="T35" fmla="*/ 111 h 133"/>
                  <a:gd name="T36" fmla="*/ 49 w 73"/>
                  <a:gd name="T37" fmla="*/ 107 h 133"/>
                  <a:gd name="T38" fmla="*/ 49 w 73"/>
                  <a:gd name="T39" fmla="*/ 107 h 133"/>
                  <a:gd name="T40" fmla="*/ 48 w 73"/>
                  <a:gd name="T41" fmla="*/ 107 h 133"/>
                  <a:gd name="T42" fmla="*/ 48 w 73"/>
                  <a:gd name="T43" fmla="*/ 107 h 133"/>
                  <a:gd name="T44" fmla="*/ 46 w 73"/>
                  <a:gd name="T45" fmla="*/ 108 h 133"/>
                  <a:gd name="T46" fmla="*/ 39 w 73"/>
                  <a:gd name="T47" fmla="*/ 111 h 133"/>
                  <a:gd name="T48" fmla="*/ 29 w 73"/>
                  <a:gd name="T49" fmla="*/ 100 h 133"/>
                  <a:gd name="T50" fmla="*/ 39 w 73"/>
                  <a:gd name="T51" fmla="*/ 90 h 133"/>
                  <a:gd name="T52" fmla="*/ 46 w 73"/>
                  <a:gd name="T53" fmla="*/ 92 h 133"/>
                  <a:gd name="T54" fmla="*/ 46 w 73"/>
                  <a:gd name="T55" fmla="*/ 92 h 133"/>
                  <a:gd name="T56" fmla="*/ 48 w 73"/>
                  <a:gd name="T57" fmla="*/ 94 h 133"/>
                  <a:gd name="T58" fmla="*/ 48 w 73"/>
                  <a:gd name="T59" fmla="*/ 94 h 133"/>
                  <a:gd name="T60" fmla="*/ 48 w 73"/>
                  <a:gd name="T61" fmla="*/ 94 h 133"/>
                  <a:gd name="T62" fmla="*/ 49 w 73"/>
                  <a:gd name="T63" fmla="*/ 94 h 133"/>
                  <a:gd name="T64" fmla="*/ 51 w 73"/>
                  <a:gd name="T65" fmla="*/ 90 h 133"/>
                  <a:gd name="T66" fmla="*/ 51 w 73"/>
                  <a:gd name="T67" fmla="*/ 90 h 133"/>
                  <a:gd name="T68" fmla="*/ 51 w 73"/>
                  <a:gd name="T69" fmla="*/ 43 h 133"/>
                  <a:gd name="T70" fmla="*/ 51 w 73"/>
                  <a:gd name="T71" fmla="*/ 43 h 133"/>
                  <a:gd name="T72" fmla="*/ 55 w 73"/>
                  <a:gd name="T73" fmla="*/ 38 h 133"/>
                  <a:gd name="T74" fmla="*/ 56 w 73"/>
                  <a:gd name="T75" fmla="*/ 38 h 133"/>
                  <a:gd name="T76" fmla="*/ 59 w 73"/>
                  <a:gd name="T77" fmla="*/ 39 h 133"/>
                  <a:gd name="T78" fmla="*/ 59 w 73"/>
                  <a:gd name="T79" fmla="*/ 39 h 133"/>
                  <a:gd name="T80" fmla="*/ 60 w 73"/>
                  <a:gd name="T81" fmla="*/ 40 h 133"/>
                  <a:gd name="T82" fmla="*/ 65 w 73"/>
                  <a:gd name="T83" fmla="*/ 42 h 133"/>
                  <a:gd name="T84" fmla="*/ 73 w 73"/>
                  <a:gd name="T85" fmla="*/ 33 h 133"/>
                  <a:gd name="T86" fmla="*/ 65 w 73"/>
                  <a:gd name="T87"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133">
                    <a:moveTo>
                      <a:pt x="65" y="24"/>
                    </a:moveTo>
                    <a:cubicBezTo>
                      <a:pt x="63" y="24"/>
                      <a:pt x="61" y="25"/>
                      <a:pt x="60" y="26"/>
                    </a:cubicBezTo>
                    <a:cubicBezTo>
                      <a:pt x="58" y="27"/>
                      <a:pt x="57" y="28"/>
                      <a:pt x="56" y="28"/>
                    </a:cubicBezTo>
                    <a:cubicBezTo>
                      <a:pt x="55" y="28"/>
                      <a:pt x="55" y="28"/>
                      <a:pt x="55" y="28"/>
                    </a:cubicBezTo>
                    <a:cubicBezTo>
                      <a:pt x="53" y="28"/>
                      <a:pt x="51" y="26"/>
                      <a:pt x="51" y="23"/>
                    </a:cubicBezTo>
                    <a:cubicBezTo>
                      <a:pt x="51" y="23"/>
                      <a:pt x="51" y="23"/>
                      <a:pt x="51" y="23"/>
                    </a:cubicBezTo>
                    <a:cubicBezTo>
                      <a:pt x="51" y="0"/>
                      <a:pt x="51" y="0"/>
                      <a:pt x="51" y="0"/>
                    </a:cubicBezTo>
                    <a:cubicBezTo>
                      <a:pt x="42" y="0"/>
                      <a:pt x="33" y="3"/>
                      <a:pt x="25" y="7"/>
                    </a:cubicBezTo>
                    <a:cubicBezTo>
                      <a:pt x="20" y="10"/>
                      <a:pt x="16" y="13"/>
                      <a:pt x="13" y="17"/>
                    </a:cubicBezTo>
                    <a:cubicBezTo>
                      <a:pt x="6" y="26"/>
                      <a:pt x="0" y="38"/>
                      <a:pt x="3" y="55"/>
                    </a:cubicBezTo>
                    <a:cubicBezTo>
                      <a:pt x="3" y="58"/>
                      <a:pt x="6" y="68"/>
                      <a:pt x="6" y="68"/>
                    </a:cubicBezTo>
                    <a:cubicBezTo>
                      <a:pt x="11" y="79"/>
                      <a:pt x="21" y="94"/>
                      <a:pt x="27" y="109"/>
                    </a:cubicBezTo>
                    <a:cubicBezTo>
                      <a:pt x="29" y="114"/>
                      <a:pt x="31" y="119"/>
                      <a:pt x="31" y="125"/>
                    </a:cubicBezTo>
                    <a:cubicBezTo>
                      <a:pt x="31" y="125"/>
                      <a:pt x="31" y="125"/>
                      <a:pt x="31" y="125"/>
                    </a:cubicBezTo>
                    <a:cubicBezTo>
                      <a:pt x="31" y="130"/>
                      <a:pt x="33" y="133"/>
                      <a:pt x="36" y="133"/>
                    </a:cubicBezTo>
                    <a:cubicBezTo>
                      <a:pt x="51" y="133"/>
                      <a:pt x="51" y="133"/>
                      <a:pt x="51" y="133"/>
                    </a:cubicBezTo>
                    <a:cubicBezTo>
                      <a:pt x="51" y="111"/>
                      <a:pt x="51" y="111"/>
                      <a:pt x="51" y="111"/>
                    </a:cubicBezTo>
                    <a:cubicBezTo>
                      <a:pt x="51" y="111"/>
                      <a:pt x="51" y="111"/>
                      <a:pt x="51" y="111"/>
                    </a:cubicBezTo>
                    <a:cubicBezTo>
                      <a:pt x="51" y="107"/>
                      <a:pt x="50" y="107"/>
                      <a:pt x="49" y="107"/>
                    </a:cubicBezTo>
                    <a:cubicBezTo>
                      <a:pt x="49" y="107"/>
                      <a:pt x="49" y="107"/>
                      <a:pt x="49" y="107"/>
                    </a:cubicBezTo>
                    <a:cubicBezTo>
                      <a:pt x="48" y="107"/>
                      <a:pt x="48" y="107"/>
                      <a:pt x="48" y="107"/>
                    </a:cubicBezTo>
                    <a:cubicBezTo>
                      <a:pt x="48" y="107"/>
                      <a:pt x="48" y="107"/>
                      <a:pt x="48" y="107"/>
                    </a:cubicBezTo>
                    <a:cubicBezTo>
                      <a:pt x="47" y="107"/>
                      <a:pt x="46" y="108"/>
                      <a:pt x="46" y="108"/>
                    </a:cubicBezTo>
                    <a:cubicBezTo>
                      <a:pt x="44" y="110"/>
                      <a:pt x="42" y="111"/>
                      <a:pt x="39" y="111"/>
                    </a:cubicBezTo>
                    <a:cubicBezTo>
                      <a:pt x="33" y="111"/>
                      <a:pt x="29" y="106"/>
                      <a:pt x="29" y="100"/>
                    </a:cubicBezTo>
                    <a:cubicBezTo>
                      <a:pt x="29" y="95"/>
                      <a:pt x="33" y="90"/>
                      <a:pt x="39" y="90"/>
                    </a:cubicBezTo>
                    <a:cubicBezTo>
                      <a:pt x="42" y="90"/>
                      <a:pt x="44" y="91"/>
                      <a:pt x="46" y="92"/>
                    </a:cubicBezTo>
                    <a:cubicBezTo>
                      <a:pt x="46" y="92"/>
                      <a:pt x="46" y="92"/>
                      <a:pt x="46" y="92"/>
                    </a:cubicBezTo>
                    <a:cubicBezTo>
                      <a:pt x="47" y="94"/>
                      <a:pt x="48" y="94"/>
                      <a:pt x="48" y="94"/>
                    </a:cubicBezTo>
                    <a:cubicBezTo>
                      <a:pt x="48" y="94"/>
                      <a:pt x="48" y="94"/>
                      <a:pt x="48" y="94"/>
                    </a:cubicBezTo>
                    <a:cubicBezTo>
                      <a:pt x="48" y="94"/>
                      <a:pt x="48" y="94"/>
                      <a:pt x="48" y="94"/>
                    </a:cubicBezTo>
                    <a:cubicBezTo>
                      <a:pt x="49" y="94"/>
                      <a:pt x="49" y="94"/>
                      <a:pt x="49" y="94"/>
                    </a:cubicBezTo>
                    <a:cubicBezTo>
                      <a:pt x="50" y="94"/>
                      <a:pt x="51" y="94"/>
                      <a:pt x="51" y="90"/>
                    </a:cubicBezTo>
                    <a:cubicBezTo>
                      <a:pt x="51" y="90"/>
                      <a:pt x="51" y="90"/>
                      <a:pt x="51" y="90"/>
                    </a:cubicBezTo>
                    <a:cubicBezTo>
                      <a:pt x="51" y="43"/>
                      <a:pt x="51" y="43"/>
                      <a:pt x="51" y="43"/>
                    </a:cubicBezTo>
                    <a:cubicBezTo>
                      <a:pt x="51" y="43"/>
                      <a:pt x="51" y="43"/>
                      <a:pt x="51" y="43"/>
                    </a:cubicBezTo>
                    <a:cubicBezTo>
                      <a:pt x="51" y="39"/>
                      <a:pt x="53" y="38"/>
                      <a:pt x="55" y="38"/>
                    </a:cubicBezTo>
                    <a:cubicBezTo>
                      <a:pt x="56" y="38"/>
                      <a:pt x="56" y="38"/>
                      <a:pt x="56" y="38"/>
                    </a:cubicBezTo>
                    <a:cubicBezTo>
                      <a:pt x="57" y="38"/>
                      <a:pt x="58" y="38"/>
                      <a:pt x="59" y="39"/>
                    </a:cubicBezTo>
                    <a:cubicBezTo>
                      <a:pt x="59" y="39"/>
                      <a:pt x="59" y="39"/>
                      <a:pt x="59" y="39"/>
                    </a:cubicBezTo>
                    <a:cubicBezTo>
                      <a:pt x="59" y="39"/>
                      <a:pt x="59" y="40"/>
                      <a:pt x="60" y="40"/>
                    </a:cubicBezTo>
                    <a:cubicBezTo>
                      <a:pt x="61" y="41"/>
                      <a:pt x="63" y="42"/>
                      <a:pt x="65" y="42"/>
                    </a:cubicBezTo>
                    <a:cubicBezTo>
                      <a:pt x="69" y="42"/>
                      <a:pt x="73" y="38"/>
                      <a:pt x="73" y="33"/>
                    </a:cubicBezTo>
                    <a:cubicBezTo>
                      <a:pt x="73" y="28"/>
                      <a:pt x="69" y="24"/>
                      <a:pt x="65"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5" name="Groupe 394">
            <a:extLst>
              <a:ext uri="{FF2B5EF4-FFF2-40B4-BE49-F238E27FC236}">
                <a16:creationId xmlns:a16="http://schemas.microsoft.com/office/drawing/2014/main" xmlns="" id="{5561C4E7-1456-4ABE-9A69-1D3758C27657}"/>
              </a:ext>
            </a:extLst>
          </p:cNvPr>
          <p:cNvGrpSpPr>
            <a:grpSpLocks noChangeAspect="1"/>
          </p:cNvGrpSpPr>
          <p:nvPr/>
        </p:nvGrpSpPr>
        <p:grpSpPr>
          <a:xfrm>
            <a:off x="3265879" y="1274501"/>
            <a:ext cx="768669" cy="720000"/>
            <a:chOff x="5249863" y="4017963"/>
            <a:chExt cx="852488" cy="798512"/>
          </a:xfrm>
        </p:grpSpPr>
        <p:sp>
          <p:nvSpPr>
            <p:cNvPr id="396" name="Freeform 253">
              <a:extLst>
                <a:ext uri="{FF2B5EF4-FFF2-40B4-BE49-F238E27FC236}">
                  <a16:creationId xmlns:a16="http://schemas.microsoft.com/office/drawing/2014/main" xmlns="" id="{39176008-D3D1-4059-98C9-D8BC9E6E2127}"/>
                </a:ext>
              </a:extLst>
            </p:cNvPr>
            <p:cNvSpPr>
              <a:spLocks/>
            </p:cNvSpPr>
            <p:nvPr/>
          </p:nvSpPr>
          <p:spPr bwMode="auto">
            <a:xfrm>
              <a:off x="5249863" y="4017963"/>
              <a:ext cx="852488" cy="798512"/>
            </a:xfrm>
            <a:custGeom>
              <a:avLst/>
              <a:gdLst>
                <a:gd name="T0" fmla="*/ 36 w 252"/>
                <a:gd name="T1" fmla="*/ 183 h 235"/>
                <a:gd name="T2" fmla="*/ 61 w 252"/>
                <a:gd name="T3" fmla="*/ 35 h 235"/>
                <a:gd name="T4" fmla="*/ 216 w 252"/>
                <a:gd name="T5" fmla="*/ 56 h 235"/>
                <a:gd name="T6" fmla="*/ 188 w 252"/>
                <a:gd name="T7" fmla="*/ 200 h 235"/>
                <a:gd name="T8" fmla="*/ 36 w 252"/>
                <a:gd name="T9" fmla="*/ 183 h 235"/>
              </a:gdLst>
              <a:ahLst/>
              <a:cxnLst>
                <a:cxn ang="0">
                  <a:pos x="T0" y="T1"/>
                </a:cxn>
                <a:cxn ang="0">
                  <a:pos x="T2" y="T3"/>
                </a:cxn>
                <a:cxn ang="0">
                  <a:pos x="T4" y="T5"/>
                </a:cxn>
                <a:cxn ang="0">
                  <a:pos x="T6" y="T7"/>
                </a:cxn>
                <a:cxn ang="0">
                  <a:pos x="T8" y="T9"/>
                </a:cxn>
              </a:cxnLst>
              <a:rect l="0" t="0" r="r" b="b"/>
              <a:pathLst>
                <a:path w="252" h="235">
                  <a:moveTo>
                    <a:pt x="36" y="183"/>
                  </a:moveTo>
                  <a:cubicBezTo>
                    <a:pt x="0" y="136"/>
                    <a:pt x="11" y="70"/>
                    <a:pt x="61" y="35"/>
                  </a:cubicBezTo>
                  <a:cubicBezTo>
                    <a:pt x="110" y="0"/>
                    <a:pt x="180" y="9"/>
                    <a:pt x="216" y="56"/>
                  </a:cubicBezTo>
                  <a:cubicBezTo>
                    <a:pt x="252" y="104"/>
                    <a:pt x="237" y="165"/>
                    <a:pt x="188" y="200"/>
                  </a:cubicBezTo>
                  <a:cubicBezTo>
                    <a:pt x="138" y="235"/>
                    <a:pt x="73" y="231"/>
                    <a:pt x="36" y="183"/>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97" name="Groupe 396">
              <a:extLst>
                <a:ext uri="{FF2B5EF4-FFF2-40B4-BE49-F238E27FC236}">
                  <a16:creationId xmlns:a16="http://schemas.microsoft.com/office/drawing/2014/main" xmlns="" id="{736B9149-10AD-484F-B64B-0ABA69F916A1}"/>
                </a:ext>
              </a:extLst>
            </p:cNvPr>
            <p:cNvGrpSpPr/>
            <p:nvPr/>
          </p:nvGrpSpPr>
          <p:grpSpPr>
            <a:xfrm>
              <a:off x="5500688" y="4164013"/>
              <a:ext cx="347663" cy="533399"/>
              <a:chOff x="5500688" y="4164013"/>
              <a:chExt cx="347663" cy="533399"/>
            </a:xfrm>
          </p:grpSpPr>
          <p:sp>
            <p:nvSpPr>
              <p:cNvPr id="398" name="Freeform 254">
                <a:extLst>
                  <a:ext uri="{FF2B5EF4-FFF2-40B4-BE49-F238E27FC236}">
                    <a16:creationId xmlns:a16="http://schemas.microsoft.com/office/drawing/2014/main" xmlns="" id="{AB957241-88DD-4BC3-B3D1-8D3BB2053363}"/>
                  </a:ext>
                </a:extLst>
              </p:cNvPr>
              <p:cNvSpPr>
                <a:spLocks/>
              </p:cNvSpPr>
              <p:nvPr/>
            </p:nvSpPr>
            <p:spPr bwMode="auto">
              <a:xfrm>
                <a:off x="5651500" y="4673600"/>
                <a:ext cx="74613" cy="23812"/>
              </a:xfrm>
              <a:custGeom>
                <a:avLst/>
                <a:gdLst>
                  <a:gd name="T0" fmla="*/ 0 w 22"/>
                  <a:gd name="T1" fmla="*/ 0 h 7"/>
                  <a:gd name="T2" fmla="*/ 6 w 22"/>
                  <a:gd name="T3" fmla="*/ 7 h 7"/>
                  <a:gd name="T4" fmla="*/ 22 w 22"/>
                  <a:gd name="T5" fmla="*/ 0 h 7"/>
                  <a:gd name="T6" fmla="*/ 0 w 22"/>
                  <a:gd name="T7" fmla="*/ 0 h 7"/>
                </a:gdLst>
                <a:ahLst/>
                <a:cxnLst>
                  <a:cxn ang="0">
                    <a:pos x="T0" y="T1"/>
                  </a:cxn>
                  <a:cxn ang="0">
                    <a:pos x="T2" y="T3"/>
                  </a:cxn>
                  <a:cxn ang="0">
                    <a:pos x="T4" y="T5"/>
                  </a:cxn>
                  <a:cxn ang="0">
                    <a:pos x="T6" y="T7"/>
                  </a:cxn>
                </a:cxnLst>
                <a:rect l="0" t="0" r="r" b="b"/>
                <a:pathLst>
                  <a:path w="22" h="7">
                    <a:moveTo>
                      <a:pt x="0" y="0"/>
                    </a:moveTo>
                    <a:cubicBezTo>
                      <a:pt x="4" y="4"/>
                      <a:pt x="6" y="7"/>
                      <a:pt x="6" y="7"/>
                    </a:cubicBezTo>
                    <a:cubicBezTo>
                      <a:pt x="13" y="7"/>
                      <a:pt x="19" y="4"/>
                      <a:pt x="22" y="0"/>
                    </a:cubicBezTo>
                    <a:lnTo>
                      <a:pt x="0" y="0"/>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55">
                <a:extLst>
                  <a:ext uri="{FF2B5EF4-FFF2-40B4-BE49-F238E27FC236}">
                    <a16:creationId xmlns:a16="http://schemas.microsoft.com/office/drawing/2014/main" xmlns="" id="{F976F55C-0AD7-40C8-8A7E-FAD79BF64C0C}"/>
                  </a:ext>
                </a:extLst>
              </p:cNvPr>
              <p:cNvSpPr>
                <a:spLocks/>
              </p:cNvSpPr>
              <p:nvPr/>
            </p:nvSpPr>
            <p:spPr bwMode="auto">
              <a:xfrm>
                <a:off x="5602288" y="4565650"/>
                <a:ext cx="141288" cy="26987"/>
              </a:xfrm>
              <a:custGeom>
                <a:avLst/>
                <a:gdLst>
                  <a:gd name="T0" fmla="*/ 42 w 42"/>
                  <a:gd name="T1" fmla="*/ 5 h 8"/>
                  <a:gd name="T2" fmla="*/ 39 w 42"/>
                  <a:gd name="T3" fmla="*/ 8 h 8"/>
                  <a:gd name="T4" fmla="*/ 3 w 42"/>
                  <a:gd name="T5" fmla="*/ 8 h 8"/>
                  <a:gd name="T6" fmla="*/ 0 w 42"/>
                  <a:gd name="T7" fmla="*/ 5 h 8"/>
                  <a:gd name="T8" fmla="*/ 0 w 42"/>
                  <a:gd name="T9" fmla="*/ 3 h 8"/>
                  <a:gd name="T10" fmla="*/ 3 w 42"/>
                  <a:gd name="T11" fmla="*/ 0 h 8"/>
                  <a:gd name="T12" fmla="*/ 39 w 42"/>
                  <a:gd name="T13" fmla="*/ 0 h 8"/>
                  <a:gd name="T14" fmla="*/ 42 w 42"/>
                  <a:gd name="T15" fmla="*/ 3 h 8"/>
                  <a:gd name="T16" fmla="*/ 42 w 42"/>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
                    <a:moveTo>
                      <a:pt x="42" y="5"/>
                    </a:moveTo>
                    <a:cubicBezTo>
                      <a:pt x="42" y="6"/>
                      <a:pt x="41" y="8"/>
                      <a:pt x="39" y="8"/>
                    </a:cubicBezTo>
                    <a:cubicBezTo>
                      <a:pt x="3" y="8"/>
                      <a:pt x="3" y="8"/>
                      <a:pt x="3" y="8"/>
                    </a:cubicBezTo>
                    <a:cubicBezTo>
                      <a:pt x="2" y="8"/>
                      <a:pt x="0" y="6"/>
                      <a:pt x="0" y="5"/>
                    </a:cubicBezTo>
                    <a:cubicBezTo>
                      <a:pt x="0" y="3"/>
                      <a:pt x="0" y="3"/>
                      <a:pt x="0" y="3"/>
                    </a:cubicBezTo>
                    <a:cubicBezTo>
                      <a:pt x="0" y="1"/>
                      <a:pt x="2" y="0"/>
                      <a:pt x="3" y="0"/>
                    </a:cubicBezTo>
                    <a:cubicBezTo>
                      <a:pt x="39" y="0"/>
                      <a:pt x="39" y="0"/>
                      <a:pt x="39" y="0"/>
                    </a:cubicBezTo>
                    <a:cubicBezTo>
                      <a:pt x="41" y="0"/>
                      <a:pt x="42" y="1"/>
                      <a:pt x="42" y="3"/>
                    </a:cubicBezTo>
                    <a:lnTo>
                      <a:pt x="42" y="5"/>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56">
                <a:extLst>
                  <a:ext uri="{FF2B5EF4-FFF2-40B4-BE49-F238E27FC236}">
                    <a16:creationId xmlns:a16="http://schemas.microsoft.com/office/drawing/2014/main" xmlns="" id="{44948DF2-8D0B-4D30-96AA-A533D38F3C8A}"/>
                  </a:ext>
                </a:extLst>
              </p:cNvPr>
              <p:cNvSpPr>
                <a:spLocks/>
              </p:cNvSpPr>
              <p:nvPr/>
            </p:nvSpPr>
            <p:spPr bwMode="auto">
              <a:xfrm>
                <a:off x="5602288" y="4603750"/>
                <a:ext cx="141288" cy="23812"/>
              </a:xfrm>
              <a:custGeom>
                <a:avLst/>
                <a:gdLst>
                  <a:gd name="T0" fmla="*/ 42 w 42"/>
                  <a:gd name="T1" fmla="*/ 4 h 7"/>
                  <a:gd name="T2" fmla="*/ 39 w 42"/>
                  <a:gd name="T3" fmla="*/ 7 h 7"/>
                  <a:gd name="T4" fmla="*/ 3 w 42"/>
                  <a:gd name="T5" fmla="*/ 7 h 7"/>
                  <a:gd name="T6" fmla="*/ 0 w 42"/>
                  <a:gd name="T7" fmla="*/ 4 h 7"/>
                  <a:gd name="T8" fmla="*/ 0 w 42"/>
                  <a:gd name="T9" fmla="*/ 3 h 7"/>
                  <a:gd name="T10" fmla="*/ 3 w 42"/>
                  <a:gd name="T11" fmla="*/ 0 h 7"/>
                  <a:gd name="T12" fmla="*/ 39 w 42"/>
                  <a:gd name="T13" fmla="*/ 0 h 7"/>
                  <a:gd name="T14" fmla="*/ 42 w 42"/>
                  <a:gd name="T15" fmla="*/ 3 h 7"/>
                  <a:gd name="T16" fmla="*/ 42 w 42"/>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7">
                    <a:moveTo>
                      <a:pt x="42" y="4"/>
                    </a:moveTo>
                    <a:cubicBezTo>
                      <a:pt x="42" y="6"/>
                      <a:pt x="41" y="7"/>
                      <a:pt x="39" y="7"/>
                    </a:cubicBezTo>
                    <a:cubicBezTo>
                      <a:pt x="3" y="7"/>
                      <a:pt x="3" y="7"/>
                      <a:pt x="3" y="7"/>
                    </a:cubicBezTo>
                    <a:cubicBezTo>
                      <a:pt x="2" y="7"/>
                      <a:pt x="0" y="6"/>
                      <a:pt x="0" y="4"/>
                    </a:cubicBezTo>
                    <a:cubicBezTo>
                      <a:pt x="0" y="3"/>
                      <a:pt x="0" y="3"/>
                      <a:pt x="0" y="3"/>
                    </a:cubicBezTo>
                    <a:cubicBezTo>
                      <a:pt x="0" y="1"/>
                      <a:pt x="2" y="0"/>
                      <a:pt x="3" y="0"/>
                    </a:cubicBezTo>
                    <a:cubicBezTo>
                      <a:pt x="39" y="0"/>
                      <a:pt x="39" y="0"/>
                      <a:pt x="39" y="0"/>
                    </a:cubicBezTo>
                    <a:cubicBezTo>
                      <a:pt x="41" y="0"/>
                      <a:pt x="42" y="1"/>
                      <a:pt x="42" y="3"/>
                    </a:cubicBezTo>
                    <a:lnTo>
                      <a:pt x="42" y="4"/>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57">
                <a:extLst>
                  <a:ext uri="{FF2B5EF4-FFF2-40B4-BE49-F238E27FC236}">
                    <a16:creationId xmlns:a16="http://schemas.microsoft.com/office/drawing/2014/main" xmlns="" id="{86D22985-D61A-4E8B-AF14-32AB94BA9A1F}"/>
                  </a:ext>
                </a:extLst>
              </p:cNvPr>
              <p:cNvSpPr>
                <a:spLocks/>
              </p:cNvSpPr>
              <p:nvPr/>
            </p:nvSpPr>
            <p:spPr bwMode="auto">
              <a:xfrm>
                <a:off x="5602288" y="4637088"/>
                <a:ext cx="141288" cy="26987"/>
              </a:xfrm>
              <a:custGeom>
                <a:avLst/>
                <a:gdLst>
                  <a:gd name="T0" fmla="*/ 42 w 42"/>
                  <a:gd name="T1" fmla="*/ 5 h 8"/>
                  <a:gd name="T2" fmla="*/ 39 w 42"/>
                  <a:gd name="T3" fmla="*/ 8 h 8"/>
                  <a:gd name="T4" fmla="*/ 3 w 42"/>
                  <a:gd name="T5" fmla="*/ 8 h 8"/>
                  <a:gd name="T6" fmla="*/ 0 w 42"/>
                  <a:gd name="T7" fmla="*/ 5 h 8"/>
                  <a:gd name="T8" fmla="*/ 0 w 42"/>
                  <a:gd name="T9" fmla="*/ 3 h 8"/>
                  <a:gd name="T10" fmla="*/ 3 w 42"/>
                  <a:gd name="T11" fmla="*/ 0 h 8"/>
                  <a:gd name="T12" fmla="*/ 39 w 42"/>
                  <a:gd name="T13" fmla="*/ 0 h 8"/>
                  <a:gd name="T14" fmla="*/ 42 w 42"/>
                  <a:gd name="T15" fmla="*/ 3 h 8"/>
                  <a:gd name="T16" fmla="*/ 42 w 42"/>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
                    <a:moveTo>
                      <a:pt x="42" y="5"/>
                    </a:moveTo>
                    <a:cubicBezTo>
                      <a:pt x="42" y="7"/>
                      <a:pt x="41" y="8"/>
                      <a:pt x="39" y="8"/>
                    </a:cubicBezTo>
                    <a:cubicBezTo>
                      <a:pt x="3" y="8"/>
                      <a:pt x="3" y="8"/>
                      <a:pt x="3" y="8"/>
                    </a:cubicBezTo>
                    <a:cubicBezTo>
                      <a:pt x="2" y="8"/>
                      <a:pt x="0" y="7"/>
                      <a:pt x="0" y="5"/>
                    </a:cubicBezTo>
                    <a:cubicBezTo>
                      <a:pt x="0" y="3"/>
                      <a:pt x="0" y="3"/>
                      <a:pt x="0" y="3"/>
                    </a:cubicBezTo>
                    <a:cubicBezTo>
                      <a:pt x="0" y="1"/>
                      <a:pt x="2" y="0"/>
                      <a:pt x="3" y="0"/>
                    </a:cubicBezTo>
                    <a:cubicBezTo>
                      <a:pt x="39" y="0"/>
                      <a:pt x="39" y="0"/>
                      <a:pt x="39" y="0"/>
                    </a:cubicBezTo>
                    <a:cubicBezTo>
                      <a:pt x="41" y="0"/>
                      <a:pt x="42" y="1"/>
                      <a:pt x="42" y="3"/>
                    </a:cubicBezTo>
                    <a:lnTo>
                      <a:pt x="42" y="5"/>
                    </a:ln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58">
                <a:extLst>
                  <a:ext uri="{FF2B5EF4-FFF2-40B4-BE49-F238E27FC236}">
                    <a16:creationId xmlns:a16="http://schemas.microsoft.com/office/drawing/2014/main" xmlns="" id="{38D32351-E6A1-4C5D-8FB5-493B55BAF27C}"/>
                  </a:ext>
                </a:extLst>
              </p:cNvPr>
              <p:cNvSpPr>
                <a:spLocks/>
              </p:cNvSpPr>
              <p:nvPr/>
            </p:nvSpPr>
            <p:spPr bwMode="auto">
              <a:xfrm>
                <a:off x="5500688" y="4164013"/>
                <a:ext cx="347663" cy="381000"/>
              </a:xfrm>
              <a:custGeom>
                <a:avLst/>
                <a:gdLst>
                  <a:gd name="T0" fmla="*/ 102 w 103"/>
                  <a:gd name="T1" fmla="*/ 51 h 112"/>
                  <a:gd name="T2" fmla="*/ 102 w 103"/>
                  <a:gd name="T3" fmla="*/ 51 h 112"/>
                  <a:gd name="T4" fmla="*/ 51 w 103"/>
                  <a:gd name="T5" fmla="*/ 0 h 112"/>
                  <a:gd name="T6" fmla="*/ 1 w 103"/>
                  <a:gd name="T7" fmla="*/ 51 h 112"/>
                  <a:gd name="T8" fmla="*/ 15 w 103"/>
                  <a:gd name="T9" fmla="*/ 87 h 112"/>
                  <a:gd name="T10" fmla="*/ 30 w 103"/>
                  <a:gd name="T11" fmla="*/ 112 h 112"/>
                  <a:gd name="T12" fmla="*/ 51 w 103"/>
                  <a:gd name="T13" fmla="*/ 112 h 112"/>
                  <a:gd name="T14" fmla="*/ 72 w 103"/>
                  <a:gd name="T15" fmla="*/ 112 h 112"/>
                  <a:gd name="T16" fmla="*/ 87 w 103"/>
                  <a:gd name="T17" fmla="*/ 87 h 112"/>
                  <a:gd name="T18" fmla="*/ 102 w 103"/>
                  <a:gd name="T19" fmla="*/ 5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12">
                    <a:moveTo>
                      <a:pt x="102" y="51"/>
                    </a:moveTo>
                    <a:cubicBezTo>
                      <a:pt x="102" y="51"/>
                      <a:pt x="102" y="51"/>
                      <a:pt x="102" y="51"/>
                    </a:cubicBezTo>
                    <a:cubicBezTo>
                      <a:pt x="102" y="23"/>
                      <a:pt x="79" y="0"/>
                      <a:pt x="51" y="0"/>
                    </a:cubicBezTo>
                    <a:cubicBezTo>
                      <a:pt x="24" y="0"/>
                      <a:pt x="1" y="23"/>
                      <a:pt x="1" y="51"/>
                    </a:cubicBezTo>
                    <a:cubicBezTo>
                      <a:pt x="1" y="51"/>
                      <a:pt x="0" y="72"/>
                      <a:pt x="15" y="87"/>
                    </a:cubicBezTo>
                    <a:cubicBezTo>
                      <a:pt x="31" y="103"/>
                      <a:pt x="30" y="112"/>
                      <a:pt x="30" y="112"/>
                    </a:cubicBezTo>
                    <a:cubicBezTo>
                      <a:pt x="51" y="112"/>
                      <a:pt x="51" y="112"/>
                      <a:pt x="51" y="112"/>
                    </a:cubicBezTo>
                    <a:cubicBezTo>
                      <a:pt x="72" y="112"/>
                      <a:pt x="72" y="112"/>
                      <a:pt x="72" y="112"/>
                    </a:cubicBezTo>
                    <a:cubicBezTo>
                      <a:pt x="72" y="112"/>
                      <a:pt x="72" y="103"/>
                      <a:pt x="87" y="87"/>
                    </a:cubicBezTo>
                    <a:cubicBezTo>
                      <a:pt x="103" y="72"/>
                      <a:pt x="102" y="51"/>
                      <a:pt x="102" y="51"/>
                    </a:cubicBezTo>
                    <a:close/>
                  </a:path>
                </a:pathLst>
              </a:custGeom>
              <a:solidFill>
                <a:srgbClr val="E95E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59">
                <a:extLst>
                  <a:ext uri="{FF2B5EF4-FFF2-40B4-BE49-F238E27FC236}">
                    <a16:creationId xmlns:a16="http://schemas.microsoft.com/office/drawing/2014/main" xmlns="" id="{49055709-3F66-46C0-9D2D-E780CE937A20}"/>
                  </a:ext>
                </a:extLst>
              </p:cNvPr>
              <p:cNvSpPr>
                <a:spLocks noEditPoints="1"/>
              </p:cNvSpPr>
              <p:nvPr/>
            </p:nvSpPr>
            <p:spPr bwMode="auto">
              <a:xfrm>
                <a:off x="5584825" y="4351338"/>
                <a:ext cx="179388" cy="190500"/>
              </a:xfrm>
              <a:custGeom>
                <a:avLst/>
                <a:gdLst>
                  <a:gd name="T0" fmla="*/ 41 w 53"/>
                  <a:gd name="T1" fmla="*/ 0 h 56"/>
                  <a:gd name="T2" fmla="*/ 27 w 53"/>
                  <a:gd name="T3" fmla="*/ 8 h 56"/>
                  <a:gd name="T4" fmla="*/ 12 w 53"/>
                  <a:gd name="T5" fmla="*/ 0 h 56"/>
                  <a:gd name="T6" fmla="*/ 0 w 53"/>
                  <a:gd name="T7" fmla="*/ 12 h 56"/>
                  <a:gd name="T8" fmla="*/ 12 w 53"/>
                  <a:gd name="T9" fmla="*/ 23 h 56"/>
                  <a:gd name="T10" fmla="*/ 12 w 53"/>
                  <a:gd name="T11" fmla="*/ 23 h 56"/>
                  <a:gd name="T12" fmla="*/ 18 w 53"/>
                  <a:gd name="T13" fmla="*/ 22 h 56"/>
                  <a:gd name="T14" fmla="*/ 18 w 53"/>
                  <a:gd name="T15" fmla="*/ 56 h 56"/>
                  <a:gd name="T16" fmla="*/ 23 w 53"/>
                  <a:gd name="T17" fmla="*/ 56 h 56"/>
                  <a:gd name="T18" fmla="*/ 23 w 53"/>
                  <a:gd name="T19" fmla="*/ 19 h 56"/>
                  <a:gd name="T20" fmla="*/ 27 w 53"/>
                  <a:gd name="T21" fmla="*/ 15 h 56"/>
                  <a:gd name="T22" fmla="*/ 30 w 53"/>
                  <a:gd name="T23" fmla="*/ 19 h 56"/>
                  <a:gd name="T24" fmla="*/ 30 w 53"/>
                  <a:gd name="T25" fmla="*/ 56 h 56"/>
                  <a:gd name="T26" fmla="*/ 35 w 53"/>
                  <a:gd name="T27" fmla="*/ 56 h 56"/>
                  <a:gd name="T28" fmla="*/ 35 w 53"/>
                  <a:gd name="T29" fmla="*/ 22 h 56"/>
                  <a:gd name="T30" fmla="*/ 41 w 53"/>
                  <a:gd name="T31" fmla="*/ 23 h 56"/>
                  <a:gd name="T32" fmla="*/ 41 w 53"/>
                  <a:gd name="T33" fmla="*/ 23 h 56"/>
                  <a:gd name="T34" fmla="*/ 50 w 53"/>
                  <a:gd name="T35" fmla="*/ 20 h 56"/>
                  <a:gd name="T36" fmla="*/ 53 w 53"/>
                  <a:gd name="T37" fmla="*/ 12 h 56"/>
                  <a:gd name="T38" fmla="*/ 41 w 53"/>
                  <a:gd name="T39" fmla="*/ 0 h 56"/>
                  <a:gd name="T40" fmla="*/ 12 w 53"/>
                  <a:gd name="T41" fmla="*/ 19 h 56"/>
                  <a:gd name="T42" fmla="*/ 12 w 53"/>
                  <a:gd name="T43" fmla="*/ 19 h 56"/>
                  <a:gd name="T44" fmla="*/ 4 w 53"/>
                  <a:gd name="T45" fmla="*/ 12 h 56"/>
                  <a:gd name="T46" fmla="*/ 12 w 53"/>
                  <a:gd name="T47" fmla="*/ 5 h 56"/>
                  <a:gd name="T48" fmla="*/ 24 w 53"/>
                  <a:gd name="T49" fmla="*/ 12 h 56"/>
                  <a:gd name="T50" fmla="*/ 12 w 53"/>
                  <a:gd name="T51" fmla="*/ 19 h 56"/>
                  <a:gd name="T52" fmla="*/ 46 w 53"/>
                  <a:gd name="T53" fmla="*/ 17 h 56"/>
                  <a:gd name="T54" fmla="*/ 41 w 53"/>
                  <a:gd name="T55" fmla="*/ 19 h 56"/>
                  <a:gd name="T56" fmla="*/ 41 w 53"/>
                  <a:gd name="T57" fmla="*/ 19 h 56"/>
                  <a:gd name="T58" fmla="*/ 29 w 53"/>
                  <a:gd name="T59" fmla="*/ 11 h 56"/>
                  <a:gd name="T60" fmla="*/ 41 w 53"/>
                  <a:gd name="T61" fmla="*/ 4 h 56"/>
                  <a:gd name="T62" fmla="*/ 48 w 53"/>
                  <a:gd name="T63" fmla="*/ 12 h 56"/>
                  <a:gd name="T64" fmla="*/ 46 w 53"/>
                  <a:gd name="T65"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6">
                    <a:moveTo>
                      <a:pt x="41" y="0"/>
                    </a:moveTo>
                    <a:cubicBezTo>
                      <a:pt x="41" y="0"/>
                      <a:pt x="34" y="0"/>
                      <a:pt x="27" y="8"/>
                    </a:cubicBezTo>
                    <a:cubicBezTo>
                      <a:pt x="19" y="0"/>
                      <a:pt x="12" y="0"/>
                      <a:pt x="12" y="0"/>
                    </a:cubicBezTo>
                    <a:cubicBezTo>
                      <a:pt x="5" y="0"/>
                      <a:pt x="0" y="5"/>
                      <a:pt x="0" y="12"/>
                    </a:cubicBezTo>
                    <a:cubicBezTo>
                      <a:pt x="0" y="18"/>
                      <a:pt x="5" y="23"/>
                      <a:pt x="12" y="23"/>
                    </a:cubicBezTo>
                    <a:cubicBezTo>
                      <a:pt x="12" y="23"/>
                      <a:pt x="12" y="23"/>
                      <a:pt x="12" y="23"/>
                    </a:cubicBezTo>
                    <a:cubicBezTo>
                      <a:pt x="14" y="23"/>
                      <a:pt x="16" y="23"/>
                      <a:pt x="18" y="22"/>
                    </a:cubicBezTo>
                    <a:cubicBezTo>
                      <a:pt x="18" y="56"/>
                      <a:pt x="18" y="56"/>
                      <a:pt x="18" y="56"/>
                    </a:cubicBezTo>
                    <a:cubicBezTo>
                      <a:pt x="23" y="56"/>
                      <a:pt x="23" y="56"/>
                      <a:pt x="23" y="56"/>
                    </a:cubicBezTo>
                    <a:cubicBezTo>
                      <a:pt x="23" y="19"/>
                      <a:pt x="23" y="19"/>
                      <a:pt x="23" y="19"/>
                    </a:cubicBezTo>
                    <a:cubicBezTo>
                      <a:pt x="24" y="18"/>
                      <a:pt x="26" y="16"/>
                      <a:pt x="27" y="15"/>
                    </a:cubicBezTo>
                    <a:cubicBezTo>
                      <a:pt x="27" y="16"/>
                      <a:pt x="29" y="18"/>
                      <a:pt x="30" y="19"/>
                    </a:cubicBezTo>
                    <a:cubicBezTo>
                      <a:pt x="30" y="56"/>
                      <a:pt x="30" y="56"/>
                      <a:pt x="30" y="56"/>
                    </a:cubicBezTo>
                    <a:cubicBezTo>
                      <a:pt x="35" y="56"/>
                      <a:pt x="35" y="56"/>
                      <a:pt x="35" y="56"/>
                    </a:cubicBezTo>
                    <a:cubicBezTo>
                      <a:pt x="35" y="22"/>
                      <a:pt x="35" y="22"/>
                      <a:pt x="35" y="22"/>
                    </a:cubicBezTo>
                    <a:cubicBezTo>
                      <a:pt x="37" y="23"/>
                      <a:pt x="39" y="23"/>
                      <a:pt x="41" y="23"/>
                    </a:cubicBezTo>
                    <a:cubicBezTo>
                      <a:pt x="41" y="23"/>
                      <a:pt x="41" y="23"/>
                      <a:pt x="41" y="23"/>
                    </a:cubicBezTo>
                    <a:cubicBezTo>
                      <a:pt x="44" y="23"/>
                      <a:pt x="47" y="22"/>
                      <a:pt x="50" y="20"/>
                    </a:cubicBezTo>
                    <a:cubicBezTo>
                      <a:pt x="52" y="18"/>
                      <a:pt x="53" y="15"/>
                      <a:pt x="53" y="12"/>
                    </a:cubicBezTo>
                    <a:cubicBezTo>
                      <a:pt x="53" y="5"/>
                      <a:pt x="48" y="0"/>
                      <a:pt x="41" y="0"/>
                    </a:cubicBezTo>
                    <a:close/>
                    <a:moveTo>
                      <a:pt x="12" y="19"/>
                    </a:moveTo>
                    <a:cubicBezTo>
                      <a:pt x="12" y="19"/>
                      <a:pt x="12" y="19"/>
                      <a:pt x="12" y="19"/>
                    </a:cubicBezTo>
                    <a:cubicBezTo>
                      <a:pt x="8" y="19"/>
                      <a:pt x="4" y="16"/>
                      <a:pt x="4" y="12"/>
                    </a:cubicBezTo>
                    <a:cubicBezTo>
                      <a:pt x="4" y="8"/>
                      <a:pt x="8" y="5"/>
                      <a:pt x="12" y="5"/>
                    </a:cubicBezTo>
                    <a:cubicBezTo>
                      <a:pt x="12" y="5"/>
                      <a:pt x="18" y="5"/>
                      <a:pt x="24" y="12"/>
                    </a:cubicBezTo>
                    <a:cubicBezTo>
                      <a:pt x="22" y="14"/>
                      <a:pt x="17" y="19"/>
                      <a:pt x="12" y="19"/>
                    </a:cubicBezTo>
                    <a:close/>
                    <a:moveTo>
                      <a:pt x="46" y="17"/>
                    </a:moveTo>
                    <a:cubicBezTo>
                      <a:pt x="45" y="18"/>
                      <a:pt x="43" y="19"/>
                      <a:pt x="41" y="19"/>
                    </a:cubicBezTo>
                    <a:cubicBezTo>
                      <a:pt x="41" y="19"/>
                      <a:pt x="41" y="19"/>
                      <a:pt x="41" y="19"/>
                    </a:cubicBezTo>
                    <a:cubicBezTo>
                      <a:pt x="36" y="19"/>
                      <a:pt x="31" y="14"/>
                      <a:pt x="29" y="11"/>
                    </a:cubicBezTo>
                    <a:cubicBezTo>
                      <a:pt x="35" y="4"/>
                      <a:pt x="41" y="4"/>
                      <a:pt x="41" y="4"/>
                    </a:cubicBezTo>
                    <a:cubicBezTo>
                      <a:pt x="45" y="4"/>
                      <a:pt x="48" y="8"/>
                      <a:pt x="48" y="12"/>
                    </a:cubicBezTo>
                    <a:cubicBezTo>
                      <a:pt x="49" y="14"/>
                      <a:pt x="48" y="16"/>
                      <a:pt x="46"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04" name="Groupe 403">
            <a:extLst>
              <a:ext uri="{FF2B5EF4-FFF2-40B4-BE49-F238E27FC236}">
                <a16:creationId xmlns:a16="http://schemas.microsoft.com/office/drawing/2014/main" xmlns="" id="{F8B7943C-E1CC-4811-BB6D-B654ABAD19C4}"/>
              </a:ext>
            </a:extLst>
          </p:cNvPr>
          <p:cNvGrpSpPr>
            <a:grpSpLocks noChangeAspect="1"/>
          </p:cNvGrpSpPr>
          <p:nvPr/>
        </p:nvGrpSpPr>
        <p:grpSpPr>
          <a:xfrm>
            <a:off x="445998" y="2619535"/>
            <a:ext cx="771829" cy="720000"/>
            <a:chOff x="3598863" y="496887"/>
            <a:chExt cx="874713" cy="815975"/>
          </a:xfrm>
        </p:grpSpPr>
        <p:sp>
          <p:nvSpPr>
            <p:cNvPr id="405" name="Freeform 17">
              <a:extLst>
                <a:ext uri="{FF2B5EF4-FFF2-40B4-BE49-F238E27FC236}">
                  <a16:creationId xmlns:a16="http://schemas.microsoft.com/office/drawing/2014/main" xmlns="" id="{38C41CFF-343B-45E8-9A6D-079FE1A37DC4}"/>
                </a:ext>
              </a:extLst>
            </p:cNvPr>
            <p:cNvSpPr>
              <a:spLocks/>
            </p:cNvSpPr>
            <p:nvPr/>
          </p:nvSpPr>
          <p:spPr bwMode="auto">
            <a:xfrm>
              <a:off x="3598863" y="496887"/>
              <a:ext cx="874713" cy="815975"/>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59">
              <a:extLst>
                <a:ext uri="{FF2B5EF4-FFF2-40B4-BE49-F238E27FC236}">
                  <a16:creationId xmlns:a16="http://schemas.microsoft.com/office/drawing/2014/main" xmlns="" id="{B62C1BA3-5595-4E9F-AB39-D144DF036808}"/>
                </a:ext>
              </a:extLst>
            </p:cNvPr>
            <p:cNvSpPr>
              <a:spLocks/>
            </p:cNvSpPr>
            <p:nvPr/>
          </p:nvSpPr>
          <p:spPr bwMode="auto">
            <a:xfrm>
              <a:off x="3835401" y="733425"/>
              <a:ext cx="390525" cy="354013"/>
            </a:xfrm>
            <a:custGeom>
              <a:avLst/>
              <a:gdLst>
                <a:gd name="T0" fmla="*/ 102 w 104"/>
                <a:gd name="T1" fmla="*/ 30 h 94"/>
                <a:gd name="T2" fmla="*/ 102 w 104"/>
                <a:gd name="T3" fmla="*/ 30 h 94"/>
                <a:gd name="T4" fmla="*/ 102 w 104"/>
                <a:gd name="T5" fmla="*/ 30 h 94"/>
                <a:gd name="T6" fmla="*/ 102 w 104"/>
                <a:gd name="T7" fmla="*/ 30 h 94"/>
                <a:gd name="T8" fmla="*/ 101 w 104"/>
                <a:gd name="T9" fmla="*/ 30 h 94"/>
                <a:gd name="T10" fmla="*/ 96 w 104"/>
                <a:gd name="T11" fmla="*/ 30 h 94"/>
                <a:gd name="T12" fmla="*/ 74 w 104"/>
                <a:gd name="T13" fmla="*/ 28 h 94"/>
                <a:gd name="T14" fmla="*/ 64 w 104"/>
                <a:gd name="T15" fmla="*/ 30 h 94"/>
                <a:gd name="T16" fmla="*/ 63 w 104"/>
                <a:gd name="T17" fmla="*/ 28 h 94"/>
                <a:gd name="T18" fmla="*/ 56 w 104"/>
                <a:gd name="T19" fmla="*/ 7 h 94"/>
                <a:gd name="T20" fmla="*/ 50 w 104"/>
                <a:gd name="T21" fmla="*/ 0 h 94"/>
                <a:gd name="T22" fmla="*/ 43 w 104"/>
                <a:gd name="T23" fmla="*/ 7 h 94"/>
                <a:gd name="T24" fmla="*/ 35 w 104"/>
                <a:gd name="T25" fmla="*/ 30 h 94"/>
                <a:gd name="T26" fmla="*/ 11 w 104"/>
                <a:gd name="T27" fmla="*/ 30 h 94"/>
                <a:gd name="T28" fmla="*/ 9 w 104"/>
                <a:gd name="T29" fmla="*/ 31 h 94"/>
                <a:gd name="T30" fmla="*/ 4 w 104"/>
                <a:gd name="T31" fmla="*/ 32 h 94"/>
                <a:gd name="T32" fmla="*/ 7 w 104"/>
                <a:gd name="T33" fmla="*/ 43 h 94"/>
                <a:gd name="T34" fmla="*/ 27 w 104"/>
                <a:gd name="T35" fmla="*/ 57 h 94"/>
                <a:gd name="T36" fmla="*/ 19 w 104"/>
                <a:gd name="T37" fmla="*/ 80 h 94"/>
                <a:gd name="T38" fmla="*/ 30 w 104"/>
                <a:gd name="T39" fmla="*/ 88 h 94"/>
                <a:gd name="T40" fmla="*/ 50 w 104"/>
                <a:gd name="T41" fmla="*/ 74 h 94"/>
                <a:gd name="T42" fmla="*/ 69 w 104"/>
                <a:gd name="T43" fmla="*/ 88 h 94"/>
                <a:gd name="T44" fmla="*/ 81 w 104"/>
                <a:gd name="T45" fmla="*/ 88 h 94"/>
                <a:gd name="T46" fmla="*/ 81 w 104"/>
                <a:gd name="T47" fmla="*/ 84 h 94"/>
                <a:gd name="T48" fmla="*/ 80 w 104"/>
                <a:gd name="T49" fmla="*/ 80 h 94"/>
                <a:gd name="T50" fmla="*/ 77 w 104"/>
                <a:gd name="T51" fmla="*/ 71 h 94"/>
                <a:gd name="T52" fmla="*/ 73 w 104"/>
                <a:gd name="T53" fmla="*/ 57 h 94"/>
                <a:gd name="T54" fmla="*/ 92 w 104"/>
                <a:gd name="T55" fmla="*/ 43 h 94"/>
                <a:gd name="T56" fmla="*/ 94 w 104"/>
                <a:gd name="T57" fmla="*/ 41 h 94"/>
                <a:gd name="T58" fmla="*/ 94 w 104"/>
                <a:gd name="T59" fmla="*/ 41 h 94"/>
                <a:gd name="T60" fmla="*/ 94 w 104"/>
                <a:gd name="T61" fmla="*/ 41 h 94"/>
                <a:gd name="T62" fmla="*/ 103 w 104"/>
                <a:gd name="T63" fmla="*/ 31 h 94"/>
                <a:gd name="T64" fmla="*/ 102 w 104"/>
                <a:gd name="T6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94">
                  <a:moveTo>
                    <a:pt x="102" y="30"/>
                  </a:moveTo>
                  <a:cubicBezTo>
                    <a:pt x="102" y="30"/>
                    <a:pt x="102" y="30"/>
                    <a:pt x="102" y="30"/>
                  </a:cubicBezTo>
                  <a:cubicBezTo>
                    <a:pt x="102" y="30"/>
                    <a:pt x="102" y="30"/>
                    <a:pt x="102" y="30"/>
                  </a:cubicBezTo>
                  <a:cubicBezTo>
                    <a:pt x="102" y="30"/>
                    <a:pt x="102" y="30"/>
                    <a:pt x="102" y="30"/>
                  </a:cubicBezTo>
                  <a:cubicBezTo>
                    <a:pt x="101" y="30"/>
                    <a:pt x="101" y="30"/>
                    <a:pt x="101" y="30"/>
                  </a:cubicBezTo>
                  <a:cubicBezTo>
                    <a:pt x="99" y="30"/>
                    <a:pt x="98" y="30"/>
                    <a:pt x="96" y="30"/>
                  </a:cubicBezTo>
                  <a:cubicBezTo>
                    <a:pt x="89" y="30"/>
                    <a:pt x="81" y="28"/>
                    <a:pt x="74" y="28"/>
                  </a:cubicBezTo>
                  <a:cubicBezTo>
                    <a:pt x="70" y="28"/>
                    <a:pt x="68" y="29"/>
                    <a:pt x="64" y="30"/>
                  </a:cubicBezTo>
                  <a:cubicBezTo>
                    <a:pt x="63" y="28"/>
                    <a:pt x="63" y="28"/>
                    <a:pt x="63" y="28"/>
                  </a:cubicBezTo>
                  <a:cubicBezTo>
                    <a:pt x="56" y="7"/>
                    <a:pt x="56" y="7"/>
                    <a:pt x="56" y="7"/>
                  </a:cubicBezTo>
                  <a:cubicBezTo>
                    <a:pt x="54" y="2"/>
                    <a:pt x="52" y="0"/>
                    <a:pt x="50" y="0"/>
                  </a:cubicBezTo>
                  <a:cubicBezTo>
                    <a:pt x="47" y="0"/>
                    <a:pt x="45" y="2"/>
                    <a:pt x="43" y="7"/>
                  </a:cubicBezTo>
                  <a:cubicBezTo>
                    <a:pt x="35" y="30"/>
                    <a:pt x="35" y="30"/>
                    <a:pt x="35" y="30"/>
                  </a:cubicBezTo>
                  <a:cubicBezTo>
                    <a:pt x="11" y="30"/>
                    <a:pt x="11" y="30"/>
                    <a:pt x="11" y="30"/>
                  </a:cubicBezTo>
                  <a:cubicBezTo>
                    <a:pt x="10" y="30"/>
                    <a:pt x="10" y="30"/>
                    <a:pt x="9" y="31"/>
                  </a:cubicBezTo>
                  <a:cubicBezTo>
                    <a:pt x="7" y="31"/>
                    <a:pt x="5" y="31"/>
                    <a:pt x="4" y="32"/>
                  </a:cubicBezTo>
                  <a:cubicBezTo>
                    <a:pt x="0" y="34"/>
                    <a:pt x="1" y="38"/>
                    <a:pt x="7" y="43"/>
                  </a:cubicBezTo>
                  <a:cubicBezTo>
                    <a:pt x="27" y="57"/>
                    <a:pt x="27" y="57"/>
                    <a:pt x="27" y="57"/>
                  </a:cubicBezTo>
                  <a:cubicBezTo>
                    <a:pt x="19" y="80"/>
                    <a:pt x="19" y="80"/>
                    <a:pt x="19" y="80"/>
                  </a:cubicBezTo>
                  <a:cubicBezTo>
                    <a:pt x="16" y="91"/>
                    <a:pt x="21" y="94"/>
                    <a:pt x="30" y="88"/>
                  </a:cubicBezTo>
                  <a:cubicBezTo>
                    <a:pt x="50" y="74"/>
                    <a:pt x="50" y="74"/>
                    <a:pt x="50" y="74"/>
                  </a:cubicBezTo>
                  <a:cubicBezTo>
                    <a:pt x="69" y="88"/>
                    <a:pt x="69" y="88"/>
                    <a:pt x="69" y="88"/>
                  </a:cubicBezTo>
                  <a:cubicBezTo>
                    <a:pt x="75" y="92"/>
                    <a:pt x="79" y="92"/>
                    <a:pt x="81" y="88"/>
                  </a:cubicBezTo>
                  <a:cubicBezTo>
                    <a:pt x="81" y="87"/>
                    <a:pt x="81" y="85"/>
                    <a:pt x="81" y="84"/>
                  </a:cubicBezTo>
                  <a:cubicBezTo>
                    <a:pt x="81" y="83"/>
                    <a:pt x="80" y="82"/>
                    <a:pt x="80" y="80"/>
                  </a:cubicBezTo>
                  <a:cubicBezTo>
                    <a:pt x="77" y="71"/>
                    <a:pt x="77" y="71"/>
                    <a:pt x="77" y="71"/>
                  </a:cubicBezTo>
                  <a:cubicBezTo>
                    <a:pt x="73" y="57"/>
                    <a:pt x="73" y="57"/>
                    <a:pt x="73" y="57"/>
                  </a:cubicBezTo>
                  <a:cubicBezTo>
                    <a:pt x="92" y="43"/>
                    <a:pt x="92" y="43"/>
                    <a:pt x="92" y="43"/>
                  </a:cubicBezTo>
                  <a:cubicBezTo>
                    <a:pt x="93" y="42"/>
                    <a:pt x="93" y="42"/>
                    <a:pt x="94" y="41"/>
                  </a:cubicBezTo>
                  <a:cubicBezTo>
                    <a:pt x="94" y="41"/>
                    <a:pt x="94" y="41"/>
                    <a:pt x="94" y="41"/>
                  </a:cubicBezTo>
                  <a:cubicBezTo>
                    <a:pt x="94" y="41"/>
                    <a:pt x="94" y="41"/>
                    <a:pt x="94" y="41"/>
                  </a:cubicBezTo>
                  <a:cubicBezTo>
                    <a:pt x="94" y="41"/>
                    <a:pt x="103" y="33"/>
                    <a:pt x="103" y="31"/>
                  </a:cubicBezTo>
                  <a:cubicBezTo>
                    <a:pt x="103" y="31"/>
                    <a:pt x="104" y="30"/>
                    <a:pt x="102" y="30"/>
                  </a:cubicBezTo>
                  <a:close/>
                </a:path>
              </a:pathLst>
            </a:custGeom>
            <a:solidFill>
              <a:srgbClr val="FF6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7" name="Groupe 406">
            <a:extLst>
              <a:ext uri="{FF2B5EF4-FFF2-40B4-BE49-F238E27FC236}">
                <a16:creationId xmlns:a16="http://schemas.microsoft.com/office/drawing/2014/main" xmlns="" id="{A32A07D6-E81D-4B1E-A450-91F21D87A382}"/>
              </a:ext>
            </a:extLst>
          </p:cNvPr>
          <p:cNvGrpSpPr>
            <a:grpSpLocks noChangeAspect="1"/>
          </p:cNvGrpSpPr>
          <p:nvPr/>
        </p:nvGrpSpPr>
        <p:grpSpPr>
          <a:xfrm>
            <a:off x="1382870" y="2619535"/>
            <a:ext cx="769028" cy="720000"/>
            <a:chOff x="4660901" y="496887"/>
            <a:chExt cx="871538" cy="815975"/>
          </a:xfrm>
        </p:grpSpPr>
        <p:sp>
          <p:nvSpPr>
            <p:cNvPr id="408" name="Freeform 9">
              <a:extLst>
                <a:ext uri="{FF2B5EF4-FFF2-40B4-BE49-F238E27FC236}">
                  <a16:creationId xmlns:a16="http://schemas.microsoft.com/office/drawing/2014/main" xmlns="" id="{D12C5355-3046-4C21-A962-77E7A0E5974A}"/>
                </a:ext>
              </a:extLst>
            </p:cNvPr>
            <p:cNvSpPr>
              <a:spLocks/>
            </p:cNvSpPr>
            <p:nvPr/>
          </p:nvSpPr>
          <p:spPr bwMode="auto">
            <a:xfrm>
              <a:off x="4660901" y="496887"/>
              <a:ext cx="871538" cy="815975"/>
            </a:xfrm>
            <a:custGeom>
              <a:avLst/>
              <a:gdLst>
                <a:gd name="T0" fmla="*/ 33 w 232"/>
                <a:gd name="T1" fmla="*/ 169 h 217"/>
                <a:gd name="T2" fmla="*/ 55 w 232"/>
                <a:gd name="T3" fmla="*/ 32 h 217"/>
                <a:gd name="T4" fmla="*/ 198 w 232"/>
                <a:gd name="T5" fmla="*/ 52 h 217"/>
                <a:gd name="T6" fmla="*/ 172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9" y="64"/>
                    <a:pt x="55" y="32"/>
                  </a:cubicBezTo>
                  <a:cubicBezTo>
                    <a:pt x="101" y="0"/>
                    <a:pt x="165" y="9"/>
                    <a:pt x="198" y="52"/>
                  </a:cubicBezTo>
                  <a:cubicBezTo>
                    <a:pt x="232" y="96"/>
                    <a:pt x="218" y="152"/>
                    <a:pt x="172" y="184"/>
                  </a:cubicBezTo>
                  <a:cubicBezTo>
                    <a:pt x="127" y="217"/>
                    <a:pt x="66"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9" name="Groupe 408">
              <a:extLst>
                <a:ext uri="{FF2B5EF4-FFF2-40B4-BE49-F238E27FC236}">
                  <a16:creationId xmlns:a16="http://schemas.microsoft.com/office/drawing/2014/main" xmlns="" id="{D63B627B-ACEA-4570-96C0-996548CA323F}"/>
                </a:ext>
              </a:extLst>
            </p:cNvPr>
            <p:cNvGrpSpPr/>
            <p:nvPr/>
          </p:nvGrpSpPr>
          <p:grpSpPr>
            <a:xfrm>
              <a:off x="4905376" y="752475"/>
              <a:ext cx="374650" cy="311150"/>
              <a:chOff x="4905376" y="752475"/>
              <a:chExt cx="374650" cy="311150"/>
            </a:xfrm>
          </p:grpSpPr>
          <p:sp>
            <p:nvSpPr>
              <p:cNvPr id="410" name="Freeform 60">
                <a:extLst>
                  <a:ext uri="{FF2B5EF4-FFF2-40B4-BE49-F238E27FC236}">
                    <a16:creationId xmlns:a16="http://schemas.microsoft.com/office/drawing/2014/main" xmlns="" id="{D15B67D9-4012-4789-8519-F69C06822FB7}"/>
                  </a:ext>
                </a:extLst>
              </p:cNvPr>
              <p:cNvSpPr>
                <a:spLocks/>
              </p:cNvSpPr>
              <p:nvPr/>
            </p:nvSpPr>
            <p:spPr bwMode="auto">
              <a:xfrm>
                <a:off x="5172076" y="1046162"/>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61">
                <a:extLst>
                  <a:ext uri="{FF2B5EF4-FFF2-40B4-BE49-F238E27FC236}">
                    <a16:creationId xmlns:a16="http://schemas.microsoft.com/office/drawing/2014/main" xmlns="" id="{E3034983-76A9-4C14-AC47-FB741D892E9E}"/>
                  </a:ext>
                </a:extLst>
              </p:cNvPr>
              <p:cNvSpPr>
                <a:spLocks/>
              </p:cNvSpPr>
              <p:nvPr/>
            </p:nvSpPr>
            <p:spPr bwMode="auto">
              <a:xfrm>
                <a:off x="5010151" y="1038225"/>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62">
                <a:extLst>
                  <a:ext uri="{FF2B5EF4-FFF2-40B4-BE49-F238E27FC236}">
                    <a16:creationId xmlns:a16="http://schemas.microsoft.com/office/drawing/2014/main" xmlns="" id="{6BCBF97C-D58D-4D37-9D37-4ED390A77983}"/>
                  </a:ext>
                </a:extLst>
              </p:cNvPr>
              <p:cNvSpPr>
                <a:spLocks/>
              </p:cNvSpPr>
              <p:nvPr/>
            </p:nvSpPr>
            <p:spPr bwMode="auto">
              <a:xfrm>
                <a:off x="5010151" y="1016000"/>
                <a:ext cx="165100" cy="47625"/>
              </a:xfrm>
              <a:custGeom>
                <a:avLst/>
                <a:gdLst>
                  <a:gd name="T0" fmla="*/ 43 w 44"/>
                  <a:gd name="T1" fmla="*/ 4 h 13"/>
                  <a:gd name="T2" fmla="*/ 40 w 44"/>
                  <a:gd name="T3" fmla="*/ 4 h 13"/>
                  <a:gd name="T4" fmla="*/ 38 w 44"/>
                  <a:gd name="T5" fmla="*/ 2 h 13"/>
                  <a:gd name="T6" fmla="*/ 35 w 44"/>
                  <a:gd name="T7" fmla="*/ 0 h 13"/>
                  <a:gd name="T8" fmla="*/ 9 w 44"/>
                  <a:gd name="T9" fmla="*/ 0 h 13"/>
                  <a:gd name="T10" fmla="*/ 7 w 44"/>
                  <a:gd name="T11" fmla="*/ 2 h 13"/>
                  <a:gd name="T12" fmla="*/ 4 w 44"/>
                  <a:gd name="T13" fmla="*/ 4 h 13"/>
                  <a:gd name="T14" fmla="*/ 3 w 44"/>
                  <a:gd name="T15" fmla="*/ 4 h 13"/>
                  <a:gd name="T16" fmla="*/ 1 w 44"/>
                  <a:gd name="T17" fmla="*/ 6 h 13"/>
                  <a:gd name="T18" fmla="*/ 0 w 44"/>
                  <a:gd name="T19" fmla="*/ 6 h 13"/>
                  <a:gd name="T20" fmla="*/ 0 w 44"/>
                  <a:gd name="T21" fmla="*/ 7 h 13"/>
                  <a:gd name="T22" fmla="*/ 0 w 44"/>
                  <a:gd name="T23" fmla="*/ 9 h 13"/>
                  <a:gd name="T24" fmla="*/ 40 w 44"/>
                  <a:gd name="T25" fmla="*/ 10 h 13"/>
                  <a:gd name="T26" fmla="*/ 43 w 44"/>
                  <a:gd name="T27" fmla="*/ 8 h 13"/>
                  <a:gd name="T28" fmla="*/ 44 w 44"/>
                  <a:gd name="T29" fmla="*/ 8 h 13"/>
                  <a:gd name="T30" fmla="*/ 44 w 44"/>
                  <a:gd name="T31" fmla="*/ 7 h 13"/>
                  <a:gd name="T32" fmla="*/ 43 w 44"/>
                  <a:gd name="T33"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3">
                    <a:moveTo>
                      <a:pt x="43" y="4"/>
                    </a:moveTo>
                    <a:cubicBezTo>
                      <a:pt x="42" y="4"/>
                      <a:pt x="41" y="4"/>
                      <a:pt x="40" y="4"/>
                    </a:cubicBezTo>
                    <a:cubicBezTo>
                      <a:pt x="39" y="4"/>
                      <a:pt x="38" y="3"/>
                      <a:pt x="38" y="2"/>
                    </a:cubicBezTo>
                    <a:cubicBezTo>
                      <a:pt x="37" y="1"/>
                      <a:pt x="37" y="0"/>
                      <a:pt x="35" y="0"/>
                    </a:cubicBezTo>
                    <a:cubicBezTo>
                      <a:pt x="27" y="0"/>
                      <a:pt x="18" y="0"/>
                      <a:pt x="9" y="0"/>
                    </a:cubicBezTo>
                    <a:cubicBezTo>
                      <a:pt x="8" y="0"/>
                      <a:pt x="7" y="0"/>
                      <a:pt x="7" y="2"/>
                    </a:cubicBezTo>
                    <a:cubicBezTo>
                      <a:pt x="7" y="3"/>
                      <a:pt x="6" y="4"/>
                      <a:pt x="4" y="4"/>
                    </a:cubicBezTo>
                    <a:cubicBezTo>
                      <a:pt x="4" y="4"/>
                      <a:pt x="3" y="4"/>
                      <a:pt x="3" y="4"/>
                    </a:cubicBezTo>
                    <a:cubicBezTo>
                      <a:pt x="2" y="4"/>
                      <a:pt x="1" y="5"/>
                      <a:pt x="1" y="6"/>
                    </a:cubicBezTo>
                    <a:cubicBezTo>
                      <a:pt x="0" y="6"/>
                      <a:pt x="0" y="6"/>
                      <a:pt x="0" y="6"/>
                    </a:cubicBezTo>
                    <a:cubicBezTo>
                      <a:pt x="0" y="6"/>
                      <a:pt x="0" y="6"/>
                      <a:pt x="0" y="7"/>
                    </a:cubicBezTo>
                    <a:cubicBezTo>
                      <a:pt x="0" y="7"/>
                      <a:pt x="0" y="8"/>
                      <a:pt x="0" y="9"/>
                    </a:cubicBezTo>
                    <a:cubicBezTo>
                      <a:pt x="11" y="9"/>
                      <a:pt x="22" y="13"/>
                      <a:pt x="40" y="10"/>
                    </a:cubicBezTo>
                    <a:cubicBezTo>
                      <a:pt x="41" y="10"/>
                      <a:pt x="42" y="9"/>
                      <a:pt x="43" y="8"/>
                    </a:cubicBezTo>
                    <a:cubicBezTo>
                      <a:pt x="43" y="8"/>
                      <a:pt x="43" y="8"/>
                      <a:pt x="44" y="8"/>
                    </a:cubicBezTo>
                    <a:cubicBezTo>
                      <a:pt x="44" y="8"/>
                      <a:pt x="44" y="7"/>
                      <a:pt x="44" y="7"/>
                    </a:cubicBezTo>
                    <a:cubicBezTo>
                      <a:pt x="44" y="6"/>
                      <a:pt x="44" y="5"/>
                      <a:pt x="4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63">
                <a:extLst>
                  <a:ext uri="{FF2B5EF4-FFF2-40B4-BE49-F238E27FC236}">
                    <a16:creationId xmlns:a16="http://schemas.microsoft.com/office/drawing/2014/main" xmlns="" id="{58561C7A-5F2E-47E0-A033-ED40C63CFEA4}"/>
                  </a:ext>
                </a:extLst>
              </p:cNvPr>
              <p:cNvSpPr>
                <a:spLocks/>
              </p:cNvSpPr>
              <p:nvPr/>
            </p:nvSpPr>
            <p:spPr bwMode="auto">
              <a:xfrm>
                <a:off x="5086351" y="785812"/>
                <a:ext cx="14288" cy="222250"/>
              </a:xfrm>
              <a:custGeom>
                <a:avLst/>
                <a:gdLst>
                  <a:gd name="T0" fmla="*/ 4 w 4"/>
                  <a:gd name="T1" fmla="*/ 59 h 59"/>
                  <a:gd name="T2" fmla="*/ 0 w 4"/>
                  <a:gd name="T3" fmla="*/ 59 h 59"/>
                  <a:gd name="T4" fmla="*/ 0 w 4"/>
                  <a:gd name="T5" fmla="*/ 0 h 59"/>
                  <a:gd name="T6" fmla="*/ 4 w 4"/>
                  <a:gd name="T7" fmla="*/ 0 h 59"/>
                  <a:gd name="T8" fmla="*/ 4 w 4"/>
                  <a:gd name="T9" fmla="*/ 59 h 59"/>
                </a:gdLst>
                <a:ahLst/>
                <a:cxnLst>
                  <a:cxn ang="0">
                    <a:pos x="T0" y="T1"/>
                  </a:cxn>
                  <a:cxn ang="0">
                    <a:pos x="T2" y="T3"/>
                  </a:cxn>
                  <a:cxn ang="0">
                    <a:pos x="T4" y="T5"/>
                  </a:cxn>
                  <a:cxn ang="0">
                    <a:pos x="T6" y="T7"/>
                  </a:cxn>
                  <a:cxn ang="0">
                    <a:pos x="T8" y="T9"/>
                  </a:cxn>
                </a:cxnLst>
                <a:rect l="0" t="0" r="r" b="b"/>
                <a:pathLst>
                  <a:path w="4" h="59">
                    <a:moveTo>
                      <a:pt x="4" y="59"/>
                    </a:moveTo>
                    <a:cubicBezTo>
                      <a:pt x="3" y="59"/>
                      <a:pt x="2" y="59"/>
                      <a:pt x="0" y="59"/>
                    </a:cubicBezTo>
                    <a:cubicBezTo>
                      <a:pt x="0" y="40"/>
                      <a:pt x="0" y="19"/>
                      <a:pt x="0" y="0"/>
                    </a:cubicBezTo>
                    <a:cubicBezTo>
                      <a:pt x="2" y="1"/>
                      <a:pt x="3" y="1"/>
                      <a:pt x="4" y="0"/>
                    </a:cubicBezTo>
                    <a:cubicBezTo>
                      <a:pt x="4" y="19"/>
                      <a:pt x="4" y="40"/>
                      <a:pt x="4"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64">
                <a:extLst>
                  <a:ext uri="{FF2B5EF4-FFF2-40B4-BE49-F238E27FC236}">
                    <a16:creationId xmlns:a16="http://schemas.microsoft.com/office/drawing/2014/main" xmlns="" id="{D8A70B0B-2738-4406-A5A2-AB007CD0E5BB}"/>
                  </a:ext>
                </a:extLst>
              </p:cNvPr>
              <p:cNvSpPr>
                <a:spLocks/>
              </p:cNvSpPr>
              <p:nvPr/>
            </p:nvSpPr>
            <p:spPr bwMode="auto">
              <a:xfrm>
                <a:off x="4954588" y="760412"/>
                <a:ext cx="119063" cy="14288"/>
              </a:xfrm>
              <a:custGeom>
                <a:avLst/>
                <a:gdLst>
                  <a:gd name="T0" fmla="*/ 32 w 32"/>
                  <a:gd name="T1" fmla="*/ 0 h 4"/>
                  <a:gd name="T2" fmla="*/ 2 w 32"/>
                  <a:gd name="T3" fmla="*/ 0 h 4"/>
                  <a:gd name="T4" fmla="*/ 0 w 32"/>
                  <a:gd name="T5" fmla="*/ 2 h 4"/>
                  <a:gd name="T6" fmla="*/ 2 w 32"/>
                  <a:gd name="T7" fmla="*/ 4 h 4"/>
                  <a:gd name="T8" fmla="*/ 32 w 32"/>
                  <a:gd name="T9" fmla="*/ 4 h 4"/>
                  <a:gd name="T10" fmla="*/ 32 w 32"/>
                  <a:gd name="T11" fmla="*/ 2 h 4"/>
                  <a:gd name="T12" fmla="*/ 32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2" y="0"/>
                    </a:moveTo>
                    <a:cubicBezTo>
                      <a:pt x="2" y="0"/>
                      <a:pt x="2" y="0"/>
                      <a:pt x="2" y="0"/>
                    </a:cubicBezTo>
                    <a:cubicBezTo>
                      <a:pt x="1" y="0"/>
                      <a:pt x="0" y="1"/>
                      <a:pt x="0" y="2"/>
                    </a:cubicBezTo>
                    <a:cubicBezTo>
                      <a:pt x="0" y="3"/>
                      <a:pt x="1" y="4"/>
                      <a:pt x="2" y="4"/>
                    </a:cubicBezTo>
                    <a:cubicBezTo>
                      <a:pt x="32" y="4"/>
                      <a:pt x="32" y="4"/>
                      <a:pt x="32" y="4"/>
                    </a:cubicBezTo>
                    <a:cubicBezTo>
                      <a:pt x="32" y="3"/>
                      <a:pt x="32" y="3"/>
                      <a:pt x="32" y="2"/>
                    </a:cubicBezTo>
                    <a:cubicBezTo>
                      <a:pt x="32" y="1"/>
                      <a:pt x="32" y="0"/>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65">
                <a:extLst>
                  <a:ext uri="{FF2B5EF4-FFF2-40B4-BE49-F238E27FC236}">
                    <a16:creationId xmlns:a16="http://schemas.microsoft.com/office/drawing/2014/main" xmlns="" id="{075B7416-0D94-4C41-853E-05971E8C3C21}"/>
                  </a:ext>
                </a:extLst>
              </p:cNvPr>
              <p:cNvSpPr>
                <a:spLocks/>
              </p:cNvSpPr>
              <p:nvPr/>
            </p:nvSpPr>
            <p:spPr bwMode="auto">
              <a:xfrm>
                <a:off x="5111751" y="760412"/>
                <a:ext cx="120650" cy="14288"/>
              </a:xfrm>
              <a:custGeom>
                <a:avLst/>
                <a:gdLst>
                  <a:gd name="T0" fmla="*/ 30 w 32"/>
                  <a:gd name="T1" fmla="*/ 0 h 4"/>
                  <a:gd name="T2" fmla="*/ 0 w 32"/>
                  <a:gd name="T3" fmla="*/ 0 h 4"/>
                  <a:gd name="T4" fmla="*/ 0 w 32"/>
                  <a:gd name="T5" fmla="*/ 2 h 4"/>
                  <a:gd name="T6" fmla="*/ 0 w 32"/>
                  <a:gd name="T7" fmla="*/ 4 h 4"/>
                  <a:gd name="T8" fmla="*/ 30 w 32"/>
                  <a:gd name="T9" fmla="*/ 4 h 4"/>
                  <a:gd name="T10" fmla="*/ 32 w 32"/>
                  <a:gd name="T11" fmla="*/ 2 h 4"/>
                  <a:gd name="T12" fmla="*/ 30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0"/>
                    </a:moveTo>
                    <a:cubicBezTo>
                      <a:pt x="0" y="0"/>
                      <a:pt x="0" y="0"/>
                      <a:pt x="0" y="0"/>
                    </a:cubicBezTo>
                    <a:cubicBezTo>
                      <a:pt x="0" y="0"/>
                      <a:pt x="0" y="1"/>
                      <a:pt x="0" y="2"/>
                    </a:cubicBezTo>
                    <a:cubicBezTo>
                      <a:pt x="0" y="3"/>
                      <a:pt x="0" y="3"/>
                      <a:pt x="0" y="4"/>
                    </a:cubicBezTo>
                    <a:cubicBezTo>
                      <a:pt x="30" y="4"/>
                      <a:pt x="30" y="4"/>
                      <a:pt x="30" y="4"/>
                    </a:cubicBezTo>
                    <a:cubicBezTo>
                      <a:pt x="31" y="4"/>
                      <a:pt x="32" y="3"/>
                      <a:pt x="32" y="2"/>
                    </a:cubicBezTo>
                    <a:cubicBezTo>
                      <a:pt x="32" y="1"/>
                      <a:pt x="31" y="0"/>
                      <a:pt x="3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Oval 66">
                <a:extLst>
                  <a:ext uri="{FF2B5EF4-FFF2-40B4-BE49-F238E27FC236}">
                    <a16:creationId xmlns:a16="http://schemas.microsoft.com/office/drawing/2014/main" xmlns="" id="{AAD6F249-495C-48A5-B584-4E3AF7C66804}"/>
                  </a:ext>
                </a:extLst>
              </p:cNvPr>
              <p:cNvSpPr>
                <a:spLocks noChangeArrowheads="1"/>
              </p:cNvSpPr>
              <p:nvPr/>
            </p:nvSpPr>
            <p:spPr bwMode="auto">
              <a:xfrm>
                <a:off x="5078413" y="752475"/>
                <a:ext cx="30163" cy="301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67">
                <a:extLst>
                  <a:ext uri="{FF2B5EF4-FFF2-40B4-BE49-F238E27FC236}">
                    <a16:creationId xmlns:a16="http://schemas.microsoft.com/office/drawing/2014/main" xmlns="" id="{842F1C27-D9B0-49AD-8832-61C169D9EEF8}"/>
                  </a:ext>
                </a:extLst>
              </p:cNvPr>
              <p:cNvSpPr>
                <a:spLocks/>
              </p:cNvSpPr>
              <p:nvPr/>
            </p:nvSpPr>
            <p:spPr bwMode="auto">
              <a:xfrm>
                <a:off x="4908551" y="777875"/>
                <a:ext cx="49213" cy="109538"/>
              </a:xfrm>
              <a:custGeom>
                <a:avLst/>
                <a:gdLst>
                  <a:gd name="T0" fmla="*/ 3 w 31"/>
                  <a:gd name="T1" fmla="*/ 69 h 69"/>
                  <a:gd name="T2" fmla="*/ 0 w 31"/>
                  <a:gd name="T3" fmla="*/ 69 h 69"/>
                  <a:gd name="T4" fmla="*/ 29 w 31"/>
                  <a:gd name="T5" fmla="*/ 0 h 69"/>
                  <a:gd name="T6" fmla="*/ 31 w 31"/>
                  <a:gd name="T7" fmla="*/ 0 h 69"/>
                  <a:gd name="T8" fmla="*/ 3 w 31"/>
                  <a:gd name="T9" fmla="*/ 69 h 69"/>
                </a:gdLst>
                <a:ahLst/>
                <a:cxnLst>
                  <a:cxn ang="0">
                    <a:pos x="T0" y="T1"/>
                  </a:cxn>
                  <a:cxn ang="0">
                    <a:pos x="T2" y="T3"/>
                  </a:cxn>
                  <a:cxn ang="0">
                    <a:pos x="T4" y="T5"/>
                  </a:cxn>
                  <a:cxn ang="0">
                    <a:pos x="T6" y="T7"/>
                  </a:cxn>
                  <a:cxn ang="0">
                    <a:pos x="T8" y="T9"/>
                  </a:cxn>
                </a:cxnLst>
                <a:rect l="0" t="0" r="r" b="b"/>
                <a:pathLst>
                  <a:path w="31" h="69">
                    <a:moveTo>
                      <a:pt x="3" y="69"/>
                    </a:moveTo>
                    <a:lnTo>
                      <a:pt x="0" y="69"/>
                    </a:lnTo>
                    <a:lnTo>
                      <a:pt x="29" y="0"/>
                    </a:lnTo>
                    <a:lnTo>
                      <a:pt x="31" y="0"/>
                    </a:lnTo>
                    <a:lnTo>
                      <a:pt x="3"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68">
                <a:extLst>
                  <a:ext uri="{FF2B5EF4-FFF2-40B4-BE49-F238E27FC236}">
                    <a16:creationId xmlns:a16="http://schemas.microsoft.com/office/drawing/2014/main" xmlns="" id="{37B36150-7553-4CE7-A6D8-46686D4514F2}"/>
                  </a:ext>
                </a:extLst>
              </p:cNvPr>
              <p:cNvSpPr>
                <a:spLocks/>
              </p:cNvSpPr>
              <p:nvPr/>
            </p:nvSpPr>
            <p:spPr bwMode="auto">
              <a:xfrm>
                <a:off x="4965701" y="777875"/>
                <a:ext cx="52388" cy="109538"/>
              </a:xfrm>
              <a:custGeom>
                <a:avLst/>
                <a:gdLst>
                  <a:gd name="T0" fmla="*/ 31 w 33"/>
                  <a:gd name="T1" fmla="*/ 69 h 69"/>
                  <a:gd name="T2" fmla="*/ 33 w 33"/>
                  <a:gd name="T3" fmla="*/ 69 h 69"/>
                  <a:gd name="T4" fmla="*/ 2 w 33"/>
                  <a:gd name="T5" fmla="*/ 0 h 69"/>
                  <a:gd name="T6" fmla="*/ 0 w 33"/>
                  <a:gd name="T7" fmla="*/ 0 h 69"/>
                  <a:gd name="T8" fmla="*/ 31 w 33"/>
                  <a:gd name="T9" fmla="*/ 69 h 69"/>
                </a:gdLst>
                <a:ahLst/>
                <a:cxnLst>
                  <a:cxn ang="0">
                    <a:pos x="T0" y="T1"/>
                  </a:cxn>
                  <a:cxn ang="0">
                    <a:pos x="T2" y="T3"/>
                  </a:cxn>
                  <a:cxn ang="0">
                    <a:pos x="T4" y="T5"/>
                  </a:cxn>
                  <a:cxn ang="0">
                    <a:pos x="T6" y="T7"/>
                  </a:cxn>
                  <a:cxn ang="0">
                    <a:pos x="T8" y="T9"/>
                  </a:cxn>
                </a:cxnLst>
                <a:rect l="0" t="0" r="r" b="b"/>
                <a:pathLst>
                  <a:path w="33" h="69">
                    <a:moveTo>
                      <a:pt x="31" y="69"/>
                    </a:moveTo>
                    <a:lnTo>
                      <a:pt x="33" y="69"/>
                    </a:lnTo>
                    <a:lnTo>
                      <a:pt x="2" y="0"/>
                    </a:lnTo>
                    <a:lnTo>
                      <a:pt x="0" y="0"/>
                    </a:lnTo>
                    <a:lnTo>
                      <a:pt x="31"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69">
                <a:extLst>
                  <a:ext uri="{FF2B5EF4-FFF2-40B4-BE49-F238E27FC236}">
                    <a16:creationId xmlns:a16="http://schemas.microsoft.com/office/drawing/2014/main" xmlns="" id="{E19119BB-6258-47D8-8AC2-B2447F223F18}"/>
                  </a:ext>
                </a:extLst>
              </p:cNvPr>
              <p:cNvSpPr>
                <a:spLocks/>
              </p:cNvSpPr>
              <p:nvPr/>
            </p:nvSpPr>
            <p:spPr bwMode="auto">
              <a:xfrm>
                <a:off x="5021263" y="89058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0">
                <a:extLst>
                  <a:ext uri="{FF2B5EF4-FFF2-40B4-BE49-F238E27FC236}">
                    <a16:creationId xmlns:a16="http://schemas.microsoft.com/office/drawing/2014/main" xmlns="" id="{177177CA-09F5-4A8D-ACF5-F0FCFEED84CC}"/>
                  </a:ext>
                </a:extLst>
              </p:cNvPr>
              <p:cNvSpPr>
                <a:spLocks/>
              </p:cNvSpPr>
              <p:nvPr/>
            </p:nvSpPr>
            <p:spPr bwMode="auto">
              <a:xfrm>
                <a:off x="4905376" y="876300"/>
                <a:ext cx="115888" cy="71438"/>
              </a:xfrm>
              <a:custGeom>
                <a:avLst/>
                <a:gdLst>
                  <a:gd name="T0" fmla="*/ 31 w 31"/>
                  <a:gd name="T1" fmla="*/ 4 h 19"/>
                  <a:gd name="T2" fmla="*/ 31 w 31"/>
                  <a:gd name="T3" fmla="*/ 4 h 19"/>
                  <a:gd name="T4" fmla="*/ 18 w 31"/>
                  <a:gd name="T5" fmla="*/ 1 h 19"/>
                  <a:gd name="T6" fmla="*/ 18 w 31"/>
                  <a:gd name="T7" fmla="*/ 1 h 19"/>
                  <a:gd name="T8" fmla="*/ 6 w 31"/>
                  <a:gd name="T9" fmla="*/ 4 h 19"/>
                  <a:gd name="T10" fmla="*/ 3 w 31"/>
                  <a:gd name="T11" fmla="*/ 4 h 19"/>
                  <a:gd name="T12" fmla="*/ 1 w 31"/>
                  <a:gd name="T13" fmla="*/ 4 h 19"/>
                  <a:gd name="T14" fmla="*/ 0 w 31"/>
                  <a:gd name="T15" fmla="*/ 4 h 19"/>
                  <a:gd name="T16" fmla="*/ 0 w 31"/>
                  <a:gd name="T17" fmla="*/ 4 h 19"/>
                  <a:gd name="T18" fmla="*/ 0 w 31"/>
                  <a:gd name="T19" fmla="*/ 4 h 19"/>
                  <a:gd name="T20" fmla="*/ 4 w 31"/>
                  <a:gd name="T21" fmla="*/ 14 h 19"/>
                  <a:gd name="T22" fmla="*/ 13 w 31"/>
                  <a:gd name="T23" fmla="*/ 19 h 19"/>
                  <a:gd name="T24" fmla="*/ 15 w 31"/>
                  <a:gd name="T25" fmla="*/ 19 h 19"/>
                  <a:gd name="T26" fmla="*/ 22 w 31"/>
                  <a:gd name="T27" fmla="*/ 18 h 19"/>
                  <a:gd name="T28" fmla="*/ 28 w 31"/>
                  <a:gd name="T29" fmla="*/ 13 h 19"/>
                  <a:gd name="T30" fmla="*/ 31 w 31"/>
                  <a:gd name="T31" fmla="*/ 4 h 19"/>
                  <a:gd name="T32" fmla="*/ 31 w 31"/>
                  <a:gd name="T3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9">
                    <a:moveTo>
                      <a:pt x="31" y="4"/>
                    </a:moveTo>
                    <a:cubicBezTo>
                      <a:pt x="31" y="4"/>
                      <a:pt x="31" y="4"/>
                      <a:pt x="31" y="4"/>
                    </a:cubicBezTo>
                    <a:cubicBezTo>
                      <a:pt x="28" y="0"/>
                      <a:pt x="20" y="0"/>
                      <a:pt x="18" y="1"/>
                    </a:cubicBezTo>
                    <a:cubicBezTo>
                      <a:pt x="18" y="1"/>
                      <a:pt x="18" y="1"/>
                      <a:pt x="18" y="1"/>
                    </a:cubicBezTo>
                    <a:cubicBezTo>
                      <a:pt x="16" y="1"/>
                      <a:pt x="11" y="3"/>
                      <a:pt x="6" y="4"/>
                    </a:cubicBezTo>
                    <a:cubicBezTo>
                      <a:pt x="5" y="4"/>
                      <a:pt x="4" y="4"/>
                      <a:pt x="3" y="4"/>
                    </a:cubicBezTo>
                    <a:cubicBezTo>
                      <a:pt x="2" y="4"/>
                      <a:pt x="1" y="4"/>
                      <a:pt x="1" y="4"/>
                    </a:cubicBezTo>
                    <a:cubicBezTo>
                      <a:pt x="0" y="4"/>
                      <a:pt x="0" y="4"/>
                      <a:pt x="0" y="4"/>
                    </a:cubicBezTo>
                    <a:cubicBezTo>
                      <a:pt x="0" y="4"/>
                      <a:pt x="0" y="4"/>
                      <a:pt x="0" y="4"/>
                    </a:cubicBezTo>
                    <a:cubicBezTo>
                      <a:pt x="0" y="4"/>
                      <a:pt x="0" y="4"/>
                      <a:pt x="0" y="4"/>
                    </a:cubicBezTo>
                    <a:cubicBezTo>
                      <a:pt x="0" y="8"/>
                      <a:pt x="1" y="11"/>
                      <a:pt x="4" y="14"/>
                    </a:cubicBezTo>
                    <a:cubicBezTo>
                      <a:pt x="6" y="17"/>
                      <a:pt x="9" y="19"/>
                      <a:pt x="13" y="19"/>
                    </a:cubicBezTo>
                    <a:cubicBezTo>
                      <a:pt x="14" y="19"/>
                      <a:pt x="14" y="19"/>
                      <a:pt x="15" y="19"/>
                    </a:cubicBezTo>
                    <a:cubicBezTo>
                      <a:pt x="17" y="19"/>
                      <a:pt x="20" y="19"/>
                      <a:pt x="22" y="18"/>
                    </a:cubicBezTo>
                    <a:cubicBezTo>
                      <a:pt x="24" y="16"/>
                      <a:pt x="26" y="15"/>
                      <a:pt x="28" y="13"/>
                    </a:cubicBezTo>
                    <a:cubicBezTo>
                      <a:pt x="30" y="10"/>
                      <a:pt x="31" y="7"/>
                      <a:pt x="31" y="4"/>
                    </a:cubicBezTo>
                    <a:cubicBezTo>
                      <a:pt x="31" y="4"/>
                      <a:pt x="31" y="4"/>
                      <a:pt x="31" y="4"/>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71">
                <a:extLst>
                  <a:ext uri="{FF2B5EF4-FFF2-40B4-BE49-F238E27FC236}">
                    <a16:creationId xmlns:a16="http://schemas.microsoft.com/office/drawing/2014/main" xmlns="" id="{32221910-0645-47D7-BEC7-36EE2D027656}"/>
                  </a:ext>
                </a:extLst>
              </p:cNvPr>
              <p:cNvSpPr>
                <a:spLocks/>
              </p:cNvSpPr>
              <p:nvPr/>
            </p:nvSpPr>
            <p:spPr bwMode="auto">
              <a:xfrm>
                <a:off x="5168901" y="777875"/>
                <a:ext cx="52388" cy="109538"/>
              </a:xfrm>
              <a:custGeom>
                <a:avLst/>
                <a:gdLst>
                  <a:gd name="T0" fmla="*/ 2 w 33"/>
                  <a:gd name="T1" fmla="*/ 69 h 69"/>
                  <a:gd name="T2" fmla="*/ 0 w 33"/>
                  <a:gd name="T3" fmla="*/ 69 h 69"/>
                  <a:gd name="T4" fmla="*/ 28 w 33"/>
                  <a:gd name="T5" fmla="*/ 0 h 69"/>
                  <a:gd name="T6" fmla="*/ 33 w 33"/>
                  <a:gd name="T7" fmla="*/ 0 h 69"/>
                  <a:gd name="T8" fmla="*/ 2 w 33"/>
                  <a:gd name="T9" fmla="*/ 69 h 69"/>
                </a:gdLst>
                <a:ahLst/>
                <a:cxnLst>
                  <a:cxn ang="0">
                    <a:pos x="T0" y="T1"/>
                  </a:cxn>
                  <a:cxn ang="0">
                    <a:pos x="T2" y="T3"/>
                  </a:cxn>
                  <a:cxn ang="0">
                    <a:pos x="T4" y="T5"/>
                  </a:cxn>
                  <a:cxn ang="0">
                    <a:pos x="T6" y="T7"/>
                  </a:cxn>
                  <a:cxn ang="0">
                    <a:pos x="T8" y="T9"/>
                  </a:cxn>
                </a:cxnLst>
                <a:rect l="0" t="0" r="r" b="b"/>
                <a:pathLst>
                  <a:path w="33" h="69">
                    <a:moveTo>
                      <a:pt x="2" y="69"/>
                    </a:moveTo>
                    <a:lnTo>
                      <a:pt x="0" y="69"/>
                    </a:lnTo>
                    <a:lnTo>
                      <a:pt x="28" y="0"/>
                    </a:lnTo>
                    <a:lnTo>
                      <a:pt x="33" y="0"/>
                    </a:lnTo>
                    <a:lnTo>
                      <a:pt x="2"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72">
                <a:extLst>
                  <a:ext uri="{FF2B5EF4-FFF2-40B4-BE49-F238E27FC236}">
                    <a16:creationId xmlns:a16="http://schemas.microsoft.com/office/drawing/2014/main" xmlns="" id="{668A99F9-CB2B-42C5-9294-9A9ED579EBD2}"/>
                  </a:ext>
                </a:extLst>
              </p:cNvPr>
              <p:cNvSpPr>
                <a:spLocks/>
              </p:cNvSpPr>
              <p:nvPr/>
            </p:nvSpPr>
            <p:spPr bwMode="auto">
              <a:xfrm>
                <a:off x="5227638" y="777875"/>
                <a:ext cx="49213" cy="109538"/>
              </a:xfrm>
              <a:custGeom>
                <a:avLst/>
                <a:gdLst>
                  <a:gd name="T0" fmla="*/ 29 w 31"/>
                  <a:gd name="T1" fmla="*/ 69 h 69"/>
                  <a:gd name="T2" fmla="*/ 31 w 31"/>
                  <a:gd name="T3" fmla="*/ 69 h 69"/>
                  <a:gd name="T4" fmla="*/ 3 w 31"/>
                  <a:gd name="T5" fmla="*/ 0 h 69"/>
                  <a:gd name="T6" fmla="*/ 0 w 31"/>
                  <a:gd name="T7" fmla="*/ 0 h 69"/>
                  <a:gd name="T8" fmla="*/ 29 w 31"/>
                  <a:gd name="T9" fmla="*/ 69 h 69"/>
                </a:gdLst>
                <a:ahLst/>
                <a:cxnLst>
                  <a:cxn ang="0">
                    <a:pos x="T0" y="T1"/>
                  </a:cxn>
                  <a:cxn ang="0">
                    <a:pos x="T2" y="T3"/>
                  </a:cxn>
                  <a:cxn ang="0">
                    <a:pos x="T4" y="T5"/>
                  </a:cxn>
                  <a:cxn ang="0">
                    <a:pos x="T6" y="T7"/>
                  </a:cxn>
                  <a:cxn ang="0">
                    <a:pos x="T8" y="T9"/>
                  </a:cxn>
                </a:cxnLst>
                <a:rect l="0" t="0" r="r" b="b"/>
                <a:pathLst>
                  <a:path w="31" h="69">
                    <a:moveTo>
                      <a:pt x="29" y="69"/>
                    </a:moveTo>
                    <a:lnTo>
                      <a:pt x="31" y="69"/>
                    </a:lnTo>
                    <a:lnTo>
                      <a:pt x="3" y="0"/>
                    </a:lnTo>
                    <a:lnTo>
                      <a:pt x="0" y="0"/>
                    </a:lnTo>
                    <a:lnTo>
                      <a:pt x="29" y="69"/>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73">
                <a:extLst>
                  <a:ext uri="{FF2B5EF4-FFF2-40B4-BE49-F238E27FC236}">
                    <a16:creationId xmlns:a16="http://schemas.microsoft.com/office/drawing/2014/main" xmlns="" id="{7F4A4576-F644-472E-B6C5-0616E341AD97}"/>
                  </a:ext>
                </a:extLst>
              </p:cNvPr>
              <p:cNvSpPr>
                <a:spLocks/>
              </p:cNvSpPr>
              <p:nvPr/>
            </p:nvSpPr>
            <p:spPr bwMode="auto">
              <a:xfrm>
                <a:off x="5280026" y="89058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74">
                <a:extLst>
                  <a:ext uri="{FF2B5EF4-FFF2-40B4-BE49-F238E27FC236}">
                    <a16:creationId xmlns:a16="http://schemas.microsoft.com/office/drawing/2014/main" xmlns="" id="{F1AAE545-AC2A-43A5-B30D-FFC0EA281285}"/>
                  </a:ext>
                </a:extLst>
              </p:cNvPr>
              <p:cNvSpPr>
                <a:spLocks/>
              </p:cNvSpPr>
              <p:nvPr/>
            </p:nvSpPr>
            <p:spPr bwMode="auto">
              <a:xfrm>
                <a:off x="5164138" y="876300"/>
                <a:ext cx="115888" cy="71438"/>
              </a:xfrm>
              <a:custGeom>
                <a:avLst/>
                <a:gdLst>
                  <a:gd name="T0" fmla="*/ 31 w 31"/>
                  <a:gd name="T1" fmla="*/ 4 h 19"/>
                  <a:gd name="T2" fmla="*/ 31 w 31"/>
                  <a:gd name="T3" fmla="*/ 4 h 19"/>
                  <a:gd name="T4" fmla="*/ 19 w 31"/>
                  <a:gd name="T5" fmla="*/ 1 h 19"/>
                  <a:gd name="T6" fmla="*/ 19 w 31"/>
                  <a:gd name="T7" fmla="*/ 1 h 19"/>
                  <a:gd name="T8" fmla="*/ 6 w 31"/>
                  <a:gd name="T9" fmla="*/ 4 h 19"/>
                  <a:gd name="T10" fmla="*/ 3 w 31"/>
                  <a:gd name="T11" fmla="*/ 4 h 19"/>
                  <a:gd name="T12" fmla="*/ 1 w 31"/>
                  <a:gd name="T13" fmla="*/ 4 h 19"/>
                  <a:gd name="T14" fmla="*/ 0 w 31"/>
                  <a:gd name="T15" fmla="*/ 4 h 19"/>
                  <a:gd name="T16" fmla="*/ 0 w 31"/>
                  <a:gd name="T17" fmla="*/ 4 h 19"/>
                  <a:gd name="T18" fmla="*/ 0 w 31"/>
                  <a:gd name="T19" fmla="*/ 4 h 19"/>
                  <a:gd name="T20" fmla="*/ 4 w 31"/>
                  <a:gd name="T21" fmla="*/ 14 h 19"/>
                  <a:gd name="T22" fmla="*/ 13 w 31"/>
                  <a:gd name="T23" fmla="*/ 19 h 19"/>
                  <a:gd name="T24" fmla="*/ 15 w 31"/>
                  <a:gd name="T25" fmla="*/ 19 h 19"/>
                  <a:gd name="T26" fmla="*/ 22 w 31"/>
                  <a:gd name="T27" fmla="*/ 18 h 19"/>
                  <a:gd name="T28" fmla="*/ 28 w 31"/>
                  <a:gd name="T29" fmla="*/ 13 h 19"/>
                  <a:gd name="T30" fmla="*/ 31 w 31"/>
                  <a:gd name="T31" fmla="*/ 4 h 19"/>
                  <a:gd name="T32" fmla="*/ 31 w 31"/>
                  <a:gd name="T3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9">
                    <a:moveTo>
                      <a:pt x="31" y="4"/>
                    </a:moveTo>
                    <a:cubicBezTo>
                      <a:pt x="31" y="4"/>
                      <a:pt x="31" y="4"/>
                      <a:pt x="31" y="4"/>
                    </a:cubicBezTo>
                    <a:cubicBezTo>
                      <a:pt x="28" y="0"/>
                      <a:pt x="21" y="0"/>
                      <a:pt x="19" y="1"/>
                    </a:cubicBezTo>
                    <a:cubicBezTo>
                      <a:pt x="19" y="1"/>
                      <a:pt x="19" y="1"/>
                      <a:pt x="19" y="1"/>
                    </a:cubicBezTo>
                    <a:cubicBezTo>
                      <a:pt x="16" y="1"/>
                      <a:pt x="12" y="3"/>
                      <a:pt x="6" y="4"/>
                    </a:cubicBezTo>
                    <a:cubicBezTo>
                      <a:pt x="5" y="4"/>
                      <a:pt x="4" y="4"/>
                      <a:pt x="3" y="4"/>
                    </a:cubicBezTo>
                    <a:cubicBezTo>
                      <a:pt x="2" y="4"/>
                      <a:pt x="2" y="4"/>
                      <a:pt x="1" y="4"/>
                    </a:cubicBezTo>
                    <a:cubicBezTo>
                      <a:pt x="1" y="4"/>
                      <a:pt x="0" y="4"/>
                      <a:pt x="0" y="4"/>
                    </a:cubicBezTo>
                    <a:cubicBezTo>
                      <a:pt x="0" y="4"/>
                      <a:pt x="0" y="4"/>
                      <a:pt x="0" y="4"/>
                    </a:cubicBezTo>
                    <a:cubicBezTo>
                      <a:pt x="0" y="4"/>
                      <a:pt x="0" y="4"/>
                      <a:pt x="0" y="4"/>
                    </a:cubicBezTo>
                    <a:cubicBezTo>
                      <a:pt x="0" y="8"/>
                      <a:pt x="2" y="11"/>
                      <a:pt x="4" y="14"/>
                    </a:cubicBezTo>
                    <a:cubicBezTo>
                      <a:pt x="6" y="17"/>
                      <a:pt x="10" y="19"/>
                      <a:pt x="13" y="19"/>
                    </a:cubicBezTo>
                    <a:cubicBezTo>
                      <a:pt x="14" y="19"/>
                      <a:pt x="15" y="19"/>
                      <a:pt x="15" y="19"/>
                    </a:cubicBezTo>
                    <a:cubicBezTo>
                      <a:pt x="18" y="19"/>
                      <a:pt x="20" y="19"/>
                      <a:pt x="22" y="18"/>
                    </a:cubicBezTo>
                    <a:cubicBezTo>
                      <a:pt x="25" y="16"/>
                      <a:pt x="27" y="15"/>
                      <a:pt x="28" y="13"/>
                    </a:cubicBezTo>
                    <a:cubicBezTo>
                      <a:pt x="30" y="10"/>
                      <a:pt x="31" y="7"/>
                      <a:pt x="31" y="4"/>
                    </a:cubicBezTo>
                    <a:cubicBezTo>
                      <a:pt x="31" y="4"/>
                      <a:pt x="31" y="4"/>
                      <a:pt x="31" y="4"/>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e 7">
            <a:extLst>
              <a:ext uri="{FF2B5EF4-FFF2-40B4-BE49-F238E27FC236}">
                <a16:creationId xmlns:a16="http://schemas.microsoft.com/office/drawing/2014/main" xmlns="" id="{E1AC583A-B314-41F8-B54E-B94E9F778743}"/>
              </a:ext>
            </a:extLst>
          </p:cNvPr>
          <p:cNvGrpSpPr>
            <a:grpSpLocks noChangeAspect="1"/>
          </p:cNvGrpSpPr>
          <p:nvPr/>
        </p:nvGrpSpPr>
        <p:grpSpPr>
          <a:xfrm>
            <a:off x="6048320" y="2619535"/>
            <a:ext cx="767626" cy="720000"/>
            <a:chOff x="5229699" y="2686034"/>
            <a:chExt cx="767626" cy="720000"/>
          </a:xfrm>
        </p:grpSpPr>
        <p:sp>
          <p:nvSpPr>
            <p:cNvPr id="429" name="Freeform 13">
              <a:extLst>
                <a:ext uri="{FF2B5EF4-FFF2-40B4-BE49-F238E27FC236}">
                  <a16:creationId xmlns:a16="http://schemas.microsoft.com/office/drawing/2014/main" xmlns="" id="{123F9380-4A7D-4351-86D9-4C0572BAA5CC}"/>
                </a:ext>
              </a:extLst>
            </p:cNvPr>
            <p:cNvSpPr>
              <a:spLocks/>
            </p:cNvSpPr>
            <p:nvPr/>
          </p:nvSpPr>
          <p:spPr bwMode="auto">
            <a:xfrm>
              <a:off x="5229699" y="2686034"/>
              <a:ext cx="767626" cy="720000"/>
            </a:xfrm>
            <a:custGeom>
              <a:avLst/>
              <a:gdLst>
                <a:gd name="T0" fmla="*/ 33 w 232"/>
                <a:gd name="T1" fmla="*/ 169 h 217"/>
                <a:gd name="T2" fmla="*/ 55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5"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30" name="Groupe 429">
              <a:extLst>
                <a:ext uri="{FF2B5EF4-FFF2-40B4-BE49-F238E27FC236}">
                  <a16:creationId xmlns:a16="http://schemas.microsoft.com/office/drawing/2014/main" xmlns="" id="{47141918-EB67-4128-A35F-7D484A37A319}"/>
                </a:ext>
              </a:extLst>
            </p:cNvPr>
            <p:cNvGrpSpPr>
              <a:grpSpLocks noChangeAspect="1"/>
            </p:cNvGrpSpPr>
            <p:nvPr/>
          </p:nvGrpSpPr>
          <p:grpSpPr>
            <a:xfrm>
              <a:off x="5384105" y="2919902"/>
              <a:ext cx="445093" cy="288000"/>
              <a:chOff x="8066088" y="771525"/>
              <a:chExt cx="404813" cy="261937"/>
            </a:xfrm>
          </p:grpSpPr>
          <p:sp>
            <p:nvSpPr>
              <p:cNvPr id="431" name="Freeform 82">
                <a:extLst>
                  <a:ext uri="{FF2B5EF4-FFF2-40B4-BE49-F238E27FC236}">
                    <a16:creationId xmlns:a16="http://schemas.microsoft.com/office/drawing/2014/main" xmlns="" id="{AF4C2115-3A0E-459D-B7EE-E616C8C5FDBA}"/>
                  </a:ext>
                </a:extLst>
              </p:cNvPr>
              <p:cNvSpPr>
                <a:spLocks/>
              </p:cNvSpPr>
              <p:nvPr/>
            </p:nvSpPr>
            <p:spPr bwMode="auto">
              <a:xfrm>
                <a:off x="8291513" y="771525"/>
                <a:ext cx="68263" cy="36513"/>
              </a:xfrm>
              <a:custGeom>
                <a:avLst/>
                <a:gdLst>
                  <a:gd name="T0" fmla="*/ 1 w 18"/>
                  <a:gd name="T1" fmla="*/ 10 h 10"/>
                  <a:gd name="T2" fmla="*/ 8 w 18"/>
                  <a:gd name="T3" fmla="*/ 1 h 10"/>
                  <a:gd name="T4" fmla="*/ 18 w 18"/>
                  <a:gd name="T5" fmla="*/ 6 h 10"/>
                  <a:gd name="T6" fmla="*/ 1 w 18"/>
                  <a:gd name="T7" fmla="*/ 10 h 10"/>
                </a:gdLst>
                <a:ahLst/>
                <a:cxnLst>
                  <a:cxn ang="0">
                    <a:pos x="T0" y="T1"/>
                  </a:cxn>
                  <a:cxn ang="0">
                    <a:pos x="T2" y="T3"/>
                  </a:cxn>
                  <a:cxn ang="0">
                    <a:pos x="T4" y="T5"/>
                  </a:cxn>
                  <a:cxn ang="0">
                    <a:pos x="T6" y="T7"/>
                  </a:cxn>
                </a:cxnLst>
                <a:rect l="0" t="0" r="r" b="b"/>
                <a:pathLst>
                  <a:path w="18" h="10">
                    <a:moveTo>
                      <a:pt x="1" y="10"/>
                    </a:moveTo>
                    <a:cubicBezTo>
                      <a:pt x="0" y="6"/>
                      <a:pt x="3" y="2"/>
                      <a:pt x="8" y="1"/>
                    </a:cubicBezTo>
                    <a:cubicBezTo>
                      <a:pt x="12" y="0"/>
                      <a:pt x="16" y="2"/>
                      <a:pt x="18" y="6"/>
                    </a:cubicBezTo>
                    <a:cubicBezTo>
                      <a:pt x="11" y="5"/>
                      <a:pt x="6" y="8"/>
                      <a:pt x="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83">
                <a:extLst>
                  <a:ext uri="{FF2B5EF4-FFF2-40B4-BE49-F238E27FC236}">
                    <a16:creationId xmlns:a16="http://schemas.microsoft.com/office/drawing/2014/main" xmlns="" id="{1E44AE58-6276-4009-B6EF-77CE7C651951}"/>
                  </a:ext>
                </a:extLst>
              </p:cNvPr>
              <p:cNvSpPr>
                <a:spLocks/>
              </p:cNvSpPr>
              <p:nvPr/>
            </p:nvSpPr>
            <p:spPr bwMode="auto">
              <a:xfrm>
                <a:off x="8178801" y="771525"/>
                <a:ext cx="63500" cy="36513"/>
              </a:xfrm>
              <a:custGeom>
                <a:avLst/>
                <a:gdLst>
                  <a:gd name="T0" fmla="*/ 0 w 17"/>
                  <a:gd name="T1" fmla="*/ 6 h 10"/>
                  <a:gd name="T2" fmla="*/ 10 w 17"/>
                  <a:gd name="T3" fmla="*/ 1 h 10"/>
                  <a:gd name="T4" fmla="*/ 17 w 17"/>
                  <a:gd name="T5" fmla="*/ 10 h 10"/>
                  <a:gd name="T6" fmla="*/ 9 w 17"/>
                  <a:gd name="T7" fmla="*/ 7 h 10"/>
                  <a:gd name="T8" fmla="*/ 0 w 17"/>
                  <a:gd name="T9" fmla="*/ 6 h 10"/>
                </a:gdLst>
                <a:ahLst/>
                <a:cxnLst>
                  <a:cxn ang="0">
                    <a:pos x="T0" y="T1"/>
                  </a:cxn>
                  <a:cxn ang="0">
                    <a:pos x="T2" y="T3"/>
                  </a:cxn>
                  <a:cxn ang="0">
                    <a:pos x="T4" y="T5"/>
                  </a:cxn>
                  <a:cxn ang="0">
                    <a:pos x="T6" y="T7"/>
                  </a:cxn>
                  <a:cxn ang="0">
                    <a:pos x="T8" y="T9"/>
                  </a:cxn>
                </a:cxnLst>
                <a:rect l="0" t="0" r="r" b="b"/>
                <a:pathLst>
                  <a:path w="17" h="10">
                    <a:moveTo>
                      <a:pt x="0" y="6"/>
                    </a:moveTo>
                    <a:cubicBezTo>
                      <a:pt x="2" y="2"/>
                      <a:pt x="6" y="0"/>
                      <a:pt x="10" y="1"/>
                    </a:cubicBezTo>
                    <a:cubicBezTo>
                      <a:pt x="15" y="2"/>
                      <a:pt x="17" y="6"/>
                      <a:pt x="17" y="10"/>
                    </a:cubicBezTo>
                    <a:cubicBezTo>
                      <a:pt x="15" y="9"/>
                      <a:pt x="12" y="8"/>
                      <a:pt x="9" y="7"/>
                    </a:cubicBezTo>
                    <a:cubicBezTo>
                      <a:pt x="6" y="6"/>
                      <a:pt x="3" y="6"/>
                      <a:pt x="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Oval 84">
                <a:extLst>
                  <a:ext uri="{FF2B5EF4-FFF2-40B4-BE49-F238E27FC236}">
                    <a16:creationId xmlns:a16="http://schemas.microsoft.com/office/drawing/2014/main" xmlns="" id="{794F8B6D-E540-41AD-829A-BE823BAA4396}"/>
                  </a:ext>
                </a:extLst>
              </p:cNvPr>
              <p:cNvSpPr>
                <a:spLocks noChangeArrowheads="1"/>
              </p:cNvSpPr>
              <p:nvPr/>
            </p:nvSpPr>
            <p:spPr bwMode="auto">
              <a:xfrm>
                <a:off x="8250238" y="925512"/>
                <a:ext cx="38100"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85">
                <a:extLst>
                  <a:ext uri="{FF2B5EF4-FFF2-40B4-BE49-F238E27FC236}">
                    <a16:creationId xmlns:a16="http://schemas.microsoft.com/office/drawing/2014/main" xmlns="" id="{BE6D91B2-0983-4740-9DD8-74D53494CA93}"/>
                  </a:ext>
                </a:extLst>
              </p:cNvPr>
              <p:cNvSpPr>
                <a:spLocks/>
              </p:cNvSpPr>
              <p:nvPr/>
            </p:nvSpPr>
            <p:spPr bwMode="auto">
              <a:xfrm>
                <a:off x="8401051" y="903287"/>
                <a:ext cx="11113"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86">
                <a:extLst>
                  <a:ext uri="{FF2B5EF4-FFF2-40B4-BE49-F238E27FC236}">
                    <a16:creationId xmlns:a16="http://schemas.microsoft.com/office/drawing/2014/main" xmlns="" id="{222644B4-34B5-4D9D-A7E1-2B5094C2A110}"/>
                  </a:ext>
                </a:extLst>
              </p:cNvPr>
              <p:cNvSpPr>
                <a:spLocks/>
              </p:cNvSpPr>
              <p:nvPr/>
            </p:nvSpPr>
            <p:spPr bwMode="auto">
              <a:xfrm>
                <a:off x="8332788" y="887412"/>
                <a:ext cx="79375" cy="49213"/>
              </a:xfrm>
              <a:custGeom>
                <a:avLst/>
                <a:gdLst>
                  <a:gd name="T0" fmla="*/ 3 w 21"/>
                  <a:gd name="T1" fmla="*/ 6 h 13"/>
                  <a:gd name="T2" fmla="*/ 0 w 21"/>
                  <a:gd name="T3" fmla="*/ 13 h 13"/>
                  <a:gd name="T4" fmla="*/ 4 w 21"/>
                  <a:gd name="T5" fmla="*/ 11 h 13"/>
                  <a:gd name="T6" fmla="*/ 4 w 21"/>
                  <a:gd name="T7" fmla="*/ 11 h 13"/>
                  <a:gd name="T8" fmla="*/ 5 w 21"/>
                  <a:gd name="T9" fmla="*/ 11 h 13"/>
                  <a:gd name="T10" fmla="*/ 18 w 21"/>
                  <a:gd name="T11" fmla="*/ 4 h 13"/>
                  <a:gd name="T12" fmla="*/ 18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1" y="8"/>
                      <a:pt x="0" y="10"/>
                      <a:pt x="0" y="13"/>
                    </a:cubicBezTo>
                    <a:cubicBezTo>
                      <a:pt x="2" y="12"/>
                      <a:pt x="3" y="11"/>
                      <a:pt x="4" y="11"/>
                    </a:cubicBezTo>
                    <a:cubicBezTo>
                      <a:pt x="4" y="11"/>
                      <a:pt x="4" y="11"/>
                      <a:pt x="4" y="11"/>
                    </a:cubicBezTo>
                    <a:cubicBezTo>
                      <a:pt x="5" y="11"/>
                      <a:pt x="5" y="11"/>
                      <a:pt x="5" y="11"/>
                    </a:cubicBezTo>
                    <a:cubicBezTo>
                      <a:pt x="8" y="9"/>
                      <a:pt x="12" y="5"/>
                      <a:pt x="18" y="4"/>
                    </a:cubicBezTo>
                    <a:cubicBezTo>
                      <a:pt x="18" y="4"/>
                      <a:pt x="18" y="4"/>
                      <a:pt x="18" y="4"/>
                    </a:cubicBezTo>
                    <a:cubicBezTo>
                      <a:pt x="19" y="4"/>
                      <a:pt x="20" y="4"/>
                      <a:pt x="21" y="4"/>
                    </a:cubicBezTo>
                    <a:cubicBezTo>
                      <a:pt x="21" y="4"/>
                      <a:pt x="21" y="4"/>
                      <a:pt x="21" y="4"/>
                    </a:cubicBezTo>
                    <a:cubicBezTo>
                      <a:pt x="15" y="0"/>
                      <a:pt x="7"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87">
                <a:extLst>
                  <a:ext uri="{FF2B5EF4-FFF2-40B4-BE49-F238E27FC236}">
                    <a16:creationId xmlns:a16="http://schemas.microsoft.com/office/drawing/2014/main" xmlns="" id="{631D3801-F0F2-41CC-9358-8572EEE274B6}"/>
                  </a:ext>
                </a:extLst>
              </p:cNvPr>
              <p:cNvSpPr>
                <a:spLocks/>
              </p:cNvSpPr>
              <p:nvPr/>
            </p:nvSpPr>
            <p:spPr bwMode="auto">
              <a:xfrm>
                <a:off x="8096251" y="887412"/>
                <a:ext cx="79375" cy="49213"/>
              </a:xfrm>
              <a:custGeom>
                <a:avLst/>
                <a:gdLst>
                  <a:gd name="T0" fmla="*/ 3 w 21"/>
                  <a:gd name="T1" fmla="*/ 6 h 13"/>
                  <a:gd name="T2" fmla="*/ 0 w 21"/>
                  <a:gd name="T3" fmla="*/ 13 h 13"/>
                  <a:gd name="T4" fmla="*/ 5 w 21"/>
                  <a:gd name="T5" fmla="*/ 11 h 13"/>
                  <a:gd name="T6" fmla="*/ 5 w 21"/>
                  <a:gd name="T7" fmla="*/ 11 h 13"/>
                  <a:gd name="T8" fmla="*/ 6 w 21"/>
                  <a:gd name="T9" fmla="*/ 11 h 13"/>
                  <a:gd name="T10" fmla="*/ 18 w 21"/>
                  <a:gd name="T11" fmla="*/ 4 h 13"/>
                  <a:gd name="T12" fmla="*/ 19 w 21"/>
                  <a:gd name="T13" fmla="*/ 4 h 13"/>
                  <a:gd name="T14" fmla="*/ 21 w 21"/>
                  <a:gd name="T15" fmla="*/ 4 h 13"/>
                  <a:gd name="T16" fmla="*/ 21 w 21"/>
                  <a:gd name="T17" fmla="*/ 4 h 13"/>
                  <a:gd name="T18" fmla="*/ 3 w 21"/>
                  <a:gd name="T1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3">
                    <a:moveTo>
                      <a:pt x="3" y="6"/>
                    </a:moveTo>
                    <a:cubicBezTo>
                      <a:pt x="2" y="8"/>
                      <a:pt x="1" y="10"/>
                      <a:pt x="0" y="13"/>
                    </a:cubicBezTo>
                    <a:cubicBezTo>
                      <a:pt x="2" y="12"/>
                      <a:pt x="4" y="11"/>
                      <a:pt x="5" y="11"/>
                    </a:cubicBezTo>
                    <a:cubicBezTo>
                      <a:pt x="5" y="11"/>
                      <a:pt x="5" y="11"/>
                      <a:pt x="5" y="11"/>
                    </a:cubicBezTo>
                    <a:cubicBezTo>
                      <a:pt x="5" y="11"/>
                      <a:pt x="5" y="11"/>
                      <a:pt x="6" y="11"/>
                    </a:cubicBezTo>
                    <a:cubicBezTo>
                      <a:pt x="9" y="9"/>
                      <a:pt x="13" y="5"/>
                      <a:pt x="18" y="4"/>
                    </a:cubicBezTo>
                    <a:cubicBezTo>
                      <a:pt x="19" y="4"/>
                      <a:pt x="19" y="4"/>
                      <a:pt x="19" y="4"/>
                    </a:cubicBezTo>
                    <a:cubicBezTo>
                      <a:pt x="20" y="4"/>
                      <a:pt x="21" y="4"/>
                      <a:pt x="21" y="4"/>
                    </a:cubicBezTo>
                    <a:cubicBezTo>
                      <a:pt x="21" y="4"/>
                      <a:pt x="21" y="4"/>
                      <a:pt x="21" y="4"/>
                    </a:cubicBezTo>
                    <a:cubicBezTo>
                      <a:pt x="15" y="0"/>
                      <a:pt x="8" y="1"/>
                      <a:pt x="3" y="6"/>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88">
                <a:extLst>
                  <a:ext uri="{FF2B5EF4-FFF2-40B4-BE49-F238E27FC236}">
                    <a16:creationId xmlns:a16="http://schemas.microsoft.com/office/drawing/2014/main" xmlns="" id="{058F0CB8-1953-467B-9975-89680EC337E8}"/>
                  </a:ext>
                </a:extLst>
              </p:cNvPr>
              <p:cNvSpPr>
                <a:spLocks noEditPoints="1"/>
              </p:cNvSpPr>
              <p:nvPr/>
            </p:nvSpPr>
            <p:spPr bwMode="auto">
              <a:xfrm>
                <a:off x="8066088" y="801687"/>
                <a:ext cx="404813" cy="231775"/>
              </a:xfrm>
              <a:custGeom>
                <a:avLst/>
                <a:gdLst>
                  <a:gd name="T0" fmla="*/ 98 w 108"/>
                  <a:gd name="T1" fmla="*/ 19 h 62"/>
                  <a:gd name="T2" fmla="*/ 86 w 108"/>
                  <a:gd name="T3" fmla="*/ 7 h 62"/>
                  <a:gd name="T4" fmla="*/ 84 w 108"/>
                  <a:gd name="T5" fmla="*/ 5 h 62"/>
                  <a:gd name="T6" fmla="*/ 68 w 108"/>
                  <a:gd name="T7" fmla="*/ 3 h 62"/>
                  <a:gd name="T8" fmla="*/ 50 w 108"/>
                  <a:gd name="T9" fmla="*/ 6 h 62"/>
                  <a:gd name="T10" fmla="*/ 40 w 108"/>
                  <a:gd name="T11" fmla="*/ 3 h 62"/>
                  <a:gd name="T12" fmla="*/ 23 w 108"/>
                  <a:gd name="T13" fmla="*/ 6 h 62"/>
                  <a:gd name="T14" fmla="*/ 17 w 108"/>
                  <a:gd name="T15" fmla="*/ 12 h 62"/>
                  <a:gd name="T16" fmla="*/ 9 w 108"/>
                  <a:gd name="T17" fmla="*/ 20 h 62"/>
                  <a:gd name="T18" fmla="*/ 0 w 108"/>
                  <a:gd name="T19" fmla="*/ 38 h 62"/>
                  <a:gd name="T20" fmla="*/ 23 w 108"/>
                  <a:gd name="T21" fmla="*/ 62 h 62"/>
                  <a:gd name="T22" fmla="*/ 45 w 108"/>
                  <a:gd name="T23" fmla="*/ 47 h 62"/>
                  <a:gd name="T24" fmla="*/ 45 w 108"/>
                  <a:gd name="T25" fmla="*/ 47 h 62"/>
                  <a:gd name="T26" fmla="*/ 63 w 108"/>
                  <a:gd name="T27" fmla="*/ 47 h 62"/>
                  <a:gd name="T28" fmla="*/ 64 w 108"/>
                  <a:gd name="T29" fmla="*/ 49 h 62"/>
                  <a:gd name="T30" fmla="*/ 85 w 108"/>
                  <a:gd name="T31" fmla="*/ 62 h 62"/>
                  <a:gd name="T32" fmla="*/ 108 w 108"/>
                  <a:gd name="T33" fmla="*/ 38 h 62"/>
                  <a:gd name="T34" fmla="*/ 98 w 108"/>
                  <a:gd name="T35" fmla="*/ 19 h 62"/>
                  <a:gd name="T36" fmla="*/ 23 w 108"/>
                  <a:gd name="T37" fmla="*/ 57 h 62"/>
                  <a:gd name="T38" fmla="*/ 5 w 108"/>
                  <a:gd name="T39" fmla="*/ 38 h 62"/>
                  <a:gd name="T40" fmla="*/ 23 w 108"/>
                  <a:gd name="T41" fmla="*/ 20 h 62"/>
                  <a:gd name="T42" fmla="*/ 42 w 108"/>
                  <a:gd name="T43" fmla="*/ 38 h 62"/>
                  <a:gd name="T44" fmla="*/ 23 w 108"/>
                  <a:gd name="T45" fmla="*/ 57 h 62"/>
                  <a:gd name="T46" fmla="*/ 54 w 108"/>
                  <a:gd name="T47" fmla="*/ 44 h 62"/>
                  <a:gd name="T48" fmla="*/ 49 w 108"/>
                  <a:gd name="T49" fmla="*/ 38 h 62"/>
                  <a:gd name="T50" fmla="*/ 54 w 108"/>
                  <a:gd name="T51" fmla="*/ 33 h 62"/>
                  <a:gd name="T52" fmla="*/ 59 w 108"/>
                  <a:gd name="T53" fmla="*/ 38 h 62"/>
                  <a:gd name="T54" fmla="*/ 54 w 108"/>
                  <a:gd name="T55" fmla="*/ 44 h 62"/>
                  <a:gd name="T56" fmla="*/ 85 w 108"/>
                  <a:gd name="T57" fmla="*/ 57 h 62"/>
                  <a:gd name="T58" fmla="*/ 67 w 108"/>
                  <a:gd name="T59" fmla="*/ 38 h 62"/>
                  <a:gd name="T60" fmla="*/ 85 w 108"/>
                  <a:gd name="T61" fmla="*/ 20 h 62"/>
                  <a:gd name="T62" fmla="*/ 103 w 108"/>
                  <a:gd name="T63" fmla="*/ 38 h 62"/>
                  <a:gd name="T64" fmla="*/ 85 w 108"/>
                  <a:gd name="T65"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62">
                    <a:moveTo>
                      <a:pt x="98" y="19"/>
                    </a:moveTo>
                    <a:cubicBezTo>
                      <a:pt x="94" y="15"/>
                      <a:pt x="90" y="11"/>
                      <a:pt x="86" y="7"/>
                    </a:cubicBezTo>
                    <a:cubicBezTo>
                      <a:pt x="85" y="6"/>
                      <a:pt x="85" y="6"/>
                      <a:pt x="84" y="5"/>
                    </a:cubicBezTo>
                    <a:cubicBezTo>
                      <a:pt x="79" y="1"/>
                      <a:pt x="74" y="0"/>
                      <a:pt x="68" y="3"/>
                    </a:cubicBezTo>
                    <a:cubicBezTo>
                      <a:pt x="62" y="6"/>
                      <a:pt x="56" y="8"/>
                      <a:pt x="50" y="6"/>
                    </a:cubicBezTo>
                    <a:cubicBezTo>
                      <a:pt x="46" y="5"/>
                      <a:pt x="43" y="4"/>
                      <a:pt x="40" y="3"/>
                    </a:cubicBezTo>
                    <a:cubicBezTo>
                      <a:pt x="34" y="0"/>
                      <a:pt x="28" y="1"/>
                      <a:pt x="23" y="6"/>
                    </a:cubicBezTo>
                    <a:cubicBezTo>
                      <a:pt x="21" y="8"/>
                      <a:pt x="19" y="10"/>
                      <a:pt x="17" y="12"/>
                    </a:cubicBezTo>
                    <a:cubicBezTo>
                      <a:pt x="15" y="14"/>
                      <a:pt x="12" y="17"/>
                      <a:pt x="9" y="20"/>
                    </a:cubicBezTo>
                    <a:cubicBezTo>
                      <a:pt x="4" y="24"/>
                      <a:pt x="0" y="31"/>
                      <a:pt x="0" y="38"/>
                    </a:cubicBezTo>
                    <a:cubicBezTo>
                      <a:pt x="0" y="51"/>
                      <a:pt x="10" y="62"/>
                      <a:pt x="23" y="62"/>
                    </a:cubicBezTo>
                    <a:cubicBezTo>
                      <a:pt x="33" y="62"/>
                      <a:pt x="41" y="56"/>
                      <a:pt x="45" y="47"/>
                    </a:cubicBezTo>
                    <a:cubicBezTo>
                      <a:pt x="45" y="47"/>
                      <a:pt x="45" y="47"/>
                      <a:pt x="45" y="47"/>
                    </a:cubicBezTo>
                    <a:cubicBezTo>
                      <a:pt x="51" y="52"/>
                      <a:pt x="57" y="52"/>
                      <a:pt x="63" y="47"/>
                    </a:cubicBezTo>
                    <a:cubicBezTo>
                      <a:pt x="63" y="48"/>
                      <a:pt x="64" y="48"/>
                      <a:pt x="64" y="49"/>
                    </a:cubicBezTo>
                    <a:cubicBezTo>
                      <a:pt x="68" y="57"/>
                      <a:pt x="76" y="62"/>
                      <a:pt x="85" y="62"/>
                    </a:cubicBezTo>
                    <a:cubicBezTo>
                      <a:pt x="98" y="62"/>
                      <a:pt x="108" y="51"/>
                      <a:pt x="108" y="38"/>
                    </a:cubicBezTo>
                    <a:cubicBezTo>
                      <a:pt x="108" y="30"/>
                      <a:pt x="104" y="23"/>
                      <a:pt x="98" y="19"/>
                    </a:cubicBezTo>
                    <a:close/>
                    <a:moveTo>
                      <a:pt x="23" y="57"/>
                    </a:moveTo>
                    <a:cubicBezTo>
                      <a:pt x="13" y="57"/>
                      <a:pt x="5" y="48"/>
                      <a:pt x="5" y="38"/>
                    </a:cubicBezTo>
                    <a:cubicBezTo>
                      <a:pt x="5" y="28"/>
                      <a:pt x="13" y="20"/>
                      <a:pt x="23" y="20"/>
                    </a:cubicBezTo>
                    <a:cubicBezTo>
                      <a:pt x="33" y="20"/>
                      <a:pt x="42" y="28"/>
                      <a:pt x="42" y="38"/>
                    </a:cubicBezTo>
                    <a:cubicBezTo>
                      <a:pt x="42" y="48"/>
                      <a:pt x="33" y="57"/>
                      <a:pt x="23" y="57"/>
                    </a:cubicBezTo>
                    <a:close/>
                    <a:moveTo>
                      <a:pt x="54" y="44"/>
                    </a:moveTo>
                    <a:cubicBezTo>
                      <a:pt x="51" y="44"/>
                      <a:pt x="49" y="41"/>
                      <a:pt x="49" y="38"/>
                    </a:cubicBezTo>
                    <a:cubicBezTo>
                      <a:pt x="49" y="35"/>
                      <a:pt x="51" y="33"/>
                      <a:pt x="54" y="33"/>
                    </a:cubicBezTo>
                    <a:cubicBezTo>
                      <a:pt x="57" y="33"/>
                      <a:pt x="59" y="35"/>
                      <a:pt x="59" y="38"/>
                    </a:cubicBezTo>
                    <a:cubicBezTo>
                      <a:pt x="59" y="41"/>
                      <a:pt x="57" y="44"/>
                      <a:pt x="54" y="44"/>
                    </a:cubicBezTo>
                    <a:close/>
                    <a:moveTo>
                      <a:pt x="85" y="57"/>
                    </a:moveTo>
                    <a:cubicBezTo>
                      <a:pt x="75" y="57"/>
                      <a:pt x="67" y="48"/>
                      <a:pt x="67" y="38"/>
                    </a:cubicBezTo>
                    <a:cubicBezTo>
                      <a:pt x="67" y="28"/>
                      <a:pt x="75" y="20"/>
                      <a:pt x="85" y="20"/>
                    </a:cubicBezTo>
                    <a:cubicBezTo>
                      <a:pt x="95" y="20"/>
                      <a:pt x="103" y="28"/>
                      <a:pt x="103" y="38"/>
                    </a:cubicBezTo>
                    <a:cubicBezTo>
                      <a:pt x="103" y="48"/>
                      <a:pt x="95" y="57"/>
                      <a:pt x="85" y="57"/>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8" name="Groupe 437">
            <a:extLst>
              <a:ext uri="{FF2B5EF4-FFF2-40B4-BE49-F238E27FC236}">
                <a16:creationId xmlns:a16="http://schemas.microsoft.com/office/drawing/2014/main" xmlns="" id="{D3E7C748-9B2D-4C63-A240-85C5CA4A2733}"/>
              </a:ext>
            </a:extLst>
          </p:cNvPr>
          <p:cNvGrpSpPr>
            <a:grpSpLocks noChangeAspect="1"/>
          </p:cNvGrpSpPr>
          <p:nvPr/>
        </p:nvGrpSpPr>
        <p:grpSpPr>
          <a:xfrm>
            <a:off x="7917547" y="2651145"/>
            <a:ext cx="767626" cy="720000"/>
            <a:chOff x="8896351" y="496887"/>
            <a:chExt cx="869950" cy="815975"/>
          </a:xfrm>
        </p:grpSpPr>
        <p:sp>
          <p:nvSpPr>
            <p:cNvPr id="439" name="Freeform 12">
              <a:extLst>
                <a:ext uri="{FF2B5EF4-FFF2-40B4-BE49-F238E27FC236}">
                  <a16:creationId xmlns:a16="http://schemas.microsoft.com/office/drawing/2014/main" xmlns="" id="{A58F577C-F22F-4B57-A0FE-71601C970E1E}"/>
                </a:ext>
              </a:extLst>
            </p:cNvPr>
            <p:cNvSpPr>
              <a:spLocks/>
            </p:cNvSpPr>
            <p:nvPr/>
          </p:nvSpPr>
          <p:spPr bwMode="auto">
            <a:xfrm>
              <a:off x="8896351" y="496887"/>
              <a:ext cx="869950"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89">
              <a:extLst>
                <a:ext uri="{FF2B5EF4-FFF2-40B4-BE49-F238E27FC236}">
                  <a16:creationId xmlns:a16="http://schemas.microsoft.com/office/drawing/2014/main" xmlns="" id="{93BFD585-712E-4EA3-898F-C53BB28AE3ED}"/>
                </a:ext>
              </a:extLst>
            </p:cNvPr>
            <p:cNvSpPr>
              <a:spLocks/>
            </p:cNvSpPr>
            <p:nvPr/>
          </p:nvSpPr>
          <p:spPr bwMode="auto">
            <a:xfrm>
              <a:off x="9155113" y="725487"/>
              <a:ext cx="344488" cy="357188"/>
            </a:xfrm>
            <a:custGeom>
              <a:avLst/>
              <a:gdLst>
                <a:gd name="T0" fmla="*/ 85 w 92"/>
                <a:gd name="T1" fmla="*/ 38 h 95"/>
                <a:gd name="T2" fmla="*/ 46 w 92"/>
                <a:gd name="T3" fmla="*/ 0 h 95"/>
                <a:gd name="T4" fmla="*/ 8 w 92"/>
                <a:gd name="T5" fmla="*/ 38 h 95"/>
                <a:gd name="T6" fmla="*/ 13 w 92"/>
                <a:gd name="T7" fmla="*/ 52 h 95"/>
                <a:gd name="T8" fmla="*/ 19 w 92"/>
                <a:gd name="T9" fmla="*/ 52 h 95"/>
                <a:gd name="T10" fmla="*/ 19 w 92"/>
                <a:gd name="T11" fmla="*/ 85 h 95"/>
                <a:gd name="T12" fmla="*/ 19 w 92"/>
                <a:gd name="T13" fmla="*/ 92 h 95"/>
                <a:gd name="T14" fmla="*/ 23 w 92"/>
                <a:gd name="T15" fmla="*/ 92 h 95"/>
                <a:gd name="T16" fmla="*/ 28 w 92"/>
                <a:gd name="T17" fmla="*/ 92 h 95"/>
                <a:gd name="T18" fmla="*/ 39 w 92"/>
                <a:gd name="T19" fmla="*/ 94 h 95"/>
                <a:gd name="T20" fmla="*/ 39 w 92"/>
                <a:gd name="T21" fmla="*/ 74 h 95"/>
                <a:gd name="T22" fmla="*/ 53 w 92"/>
                <a:gd name="T23" fmla="*/ 74 h 95"/>
                <a:gd name="T24" fmla="*/ 53 w 92"/>
                <a:gd name="T25" fmla="*/ 95 h 95"/>
                <a:gd name="T26" fmla="*/ 66 w 92"/>
                <a:gd name="T27" fmla="*/ 94 h 95"/>
                <a:gd name="T28" fmla="*/ 71 w 92"/>
                <a:gd name="T29" fmla="*/ 91 h 95"/>
                <a:gd name="T30" fmla="*/ 71 w 92"/>
                <a:gd name="T31" fmla="*/ 91 h 95"/>
                <a:gd name="T32" fmla="*/ 73 w 92"/>
                <a:gd name="T33" fmla="*/ 87 h 95"/>
                <a:gd name="T34" fmla="*/ 73 w 92"/>
                <a:gd name="T35" fmla="*/ 78 h 95"/>
                <a:gd name="T36" fmla="*/ 73 w 92"/>
                <a:gd name="T37" fmla="*/ 52 h 95"/>
                <a:gd name="T38" fmla="*/ 79 w 92"/>
                <a:gd name="T39" fmla="*/ 52 h 95"/>
                <a:gd name="T40" fmla="*/ 85 w 92"/>
                <a:gd name="T41" fmla="*/ 3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5">
                  <a:moveTo>
                    <a:pt x="85" y="38"/>
                  </a:moveTo>
                  <a:cubicBezTo>
                    <a:pt x="46" y="0"/>
                    <a:pt x="46" y="0"/>
                    <a:pt x="46" y="0"/>
                  </a:cubicBezTo>
                  <a:cubicBezTo>
                    <a:pt x="8" y="38"/>
                    <a:pt x="8" y="38"/>
                    <a:pt x="8" y="38"/>
                  </a:cubicBezTo>
                  <a:cubicBezTo>
                    <a:pt x="0" y="45"/>
                    <a:pt x="3" y="52"/>
                    <a:pt x="13" y="52"/>
                  </a:cubicBezTo>
                  <a:cubicBezTo>
                    <a:pt x="19" y="52"/>
                    <a:pt x="19" y="52"/>
                    <a:pt x="19" y="52"/>
                  </a:cubicBezTo>
                  <a:cubicBezTo>
                    <a:pt x="19" y="52"/>
                    <a:pt x="19" y="76"/>
                    <a:pt x="19" y="85"/>
                  </a:cubicBezTo>
                  <a:cubicBezTo>
                    <a:pt x="19" y="87"/>
                    <a:pt x="19" y="90"/>
                    <a:pt x="19" y="92"/>
                  </a:cubicBezTo>
                  <a:cubicBezTo>
                    <a:pt x="20" y="92"/>
                    <a:pt x="21" y="92"/>
                    <a:pt x="23" y="92"/>
                  </a:cubicBezTo>
                  <a:cubicBezTo>
                    <a:pt x="24" y="92"/>
                    <a:pt x="26" y="92"/>
                    <a:pt x="28" y="92"/>
                  </a:cubicBezTo>
                  <a:cubicBezTo>
                    <a:pt x="32" y="93"/>
                    <a:pt x="36" y="93"/>
                    <a:pt x="39" y="94"/>
                  </a:cubicBezTo>
                  <a:cubicBezTo>
                    <a:pt x="39" y="74"/>
                    <a:pt x="39" y="74"/>
                    <a:pt x="39" y="74"/>
                  </a:cubicBezTo>
                  <a:cubicBezTo>
                    <a:pt x="53" y="74"/>
                    <a:pt x="53" y="74"/>
                    <a:pt x="53" y="74"/>
                  </a:cubicBezTo>
                  <a:cubicBezTo>
                    <a:pt x="53" y="95"/>
                    <a:pt x="53" y="95"/>
                    <a:pt x="53" y="95"/>
                  </a:cubicBezTo>
                  <a:cubicBezTo>
                    <a:pt x="57" y="95"/>
                    <a:pt x="61" y="94"/>
                    <a:pt x="66" y="94"/>
                  </a:cubicBezTo>
                  <a:cubicBezTo>
                    <a:pt x="68" y="93"/>
                    <a:pt x="69" y="92"/>
                    <a:pt x="71" y="91"/>
                  </a:cubicBezTo>
                  <a:cubicBezTo>
                    <a:pt x="71" y="91"/>
                    <a:pt x="71" y="91"/>
                    <a:pt x="71" y="91"/>
                  </a:cubicBezTo>
                  <a:cubicBezTo>
                    <a:pt x="72" y="90"/>
                    <a:pt x="73" y="89"/>
                    <a:pt x="73" y="87"/>
                  </a:cubicBezTo>
                  <a:cubicBezTo>
                    <a:pt x="73" y="78"/>
                    <a:pt x="73" y="78"/>
                    <a:pt x="73" y="78"/>
                  </a:cubicBezTo>
                  <a:cubicBezTo>
                    <a:pt x="73" y="52"/>
                    <a:pt x="73" y="52"/>
                    <a:pt x="73" y="52"/>
                  </a:cubicBezTo>
                  <a:cubicBezTo>
                    <a:pt x="79" y="52"/>
                    <a:pt x="79" y="52"/>
                    <a:pt x="79" y="52"/>
                  </a:cubicBezTo>
                  <a:cubicBezTo>
                    <a:pt x="89" y="52"/>
                    <a:pt x="92" y="45"/>
                    <a:pt x="85" y="3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90">
              <a:extLst>
                <a:ext uri="{FF2B5EF4-FFF2-40B4-BE49-F238E27FC236}">
                  <a16:creationId xmlns:a16="http://schemas.microsoft.com/office/drawing/2014/main" xmlns="" id="{4FCA4E1E-C15B-43EB-8366-CB75CEC2AC7E}"/>
                </a:ext>
              </a:extLst>
            </p:cNvPr>
            <p:cNvSpPr>
              <a:spLocks/>
            </p:cNvSpPr>
            <p:nvPr/>
          </p:nvSpPr>
          <p:spPr bwMode="auto">
            <a:xfrm>
              <a:off x="9301163" y="1003300"/>
              <a:ext cx="52388" cy="79375"/>
            </a:xfrm>
            <a:custGeom>
              <a:avLst/>
              <a:gdLst>
                <a:gd name="T0" fmla="*/ 0 w 14"/>
                <a:gd name="T1" fmla="*/ 0 h 21"/>
                <a:gd name="T2" fmla="*/ 0 w 14"/>
                <a:gd name="T3" fmla="*/ 20 h 21"/>
                <a:gd name="T4" fmla="*/ 14 w 14"/>
                <a:gd name="T5" fmla="*/ 21 h 21"/>
                <a:gd name="T6" fmla="*/ 14 w 14"/>
                <a:gd name="T7" fmla="*/ 0 h 21"/>
                <a:gd name="T8" fmla="*/ 0 w 14"/>
                <a:gd name="T9" fmla="*/ 0 h 21"/>
              </a:gdLst>
              <a:ahLst/>
              <a:cxnLst>
                <a:cxn ang="0">
                  <a:pos x="T0" y="T1"/>
                </a:cxn>
                <a:cxn ang="0">
                  <a:pos x="T2" y="T3"/>
                </a:cxn>
                <a:cxn ang="0">
                  <a:pos x="T4" y="T5"/>
                </a:cxn>
                <a:cxn ang="0">
                  <a:pos x="T6" y="T7"/>
                </a:cxn>
                <a:cxn ang="0">
                  <a:pos x="T8" y="T9"/>
                </a:cxn>
              </a:cxnLst>
              <a:rect l="0" t="0" r="r" b="b"/>
              <a:pathLst>
                <a:path w="14" h="21">
                  <a:moveTo>
                    <a:pt x="0" y="0"/>
                  </a:moveTo>
                  <a:cubicBezTo>
                    <a:pt x="0" y="20"/>
                    <a:pt x="0" y="20"/>
                    <a:pt x="0" y="20"/>
                  </a:cubicBezTo>
                  <a:cubicBezTo>
                    <a:pt x="5" y="20"/>
                    <a:pt x="9" y="21"/>
                    <a:pt x="14" y="21"/>
                  </a:cubicBezTo>
                  <a:cubicBezTo>
                    <a:pt x="14" y="0"/>
                    <a:pt x="14" y="0"/>
                    <a:pt x="1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8" name="Groupe 447">
            <a:extLst>
              <a:ext uri="{FF2B5EF4-FFF2-40B4-BE49-F238E27FC236}">
                <a16:creationId xmlns:a16="http://schemas.microsoft.com/office/drawing/2014/main" xmlns="" id="{42D90293-4A19-434F-BA1E-4039442AFAAE}"/>
              </a:ext>
            </a:extLst>
          </p:cNvPr>
          <p:cNvGrpSpPr>
            <a:grpSpLocks noChangeAspect="1"/>
          </p:cNvGrpSpPr>
          <p:nvPr/>
        </p:nvGrpSpPr>
        <p:grpSpPr>
          <a:xfrm>
            <a:off x="8850216" y="2594928"/>
            <a:ext cx="769028" cy="720000"/>
            <a:chOff x="5927726" y="5300663"/>
            <a:chExt cx="871538" cy="815975"/>
          </a:xfrm>
        </p:grpSpPr>
        <p:sp>
          <p:nvSpPr>
            <p:cNvPr id="449" name="Freeform 104">
              <a:extLst>
                <a:ext uri="{FF2B5EF4-FFF2-40B4-BE49-F238E27FC236}">
                  <a16:creationId xmlns:a16="http://schemas.microsoft.com/office/drawing/2014/main" xmlns="" id="{F9EE6117-D364-4F8E-AB50-185E09AFB0EA}"/>
                </a:ext>
              </a:extLst>
            </p:cNvPr>
            <p:cNvSpPr>
              <a:spLocks/>
            </p:cNvSpPr>
            <p:nvPr/>
          </p:nvSpPr>
          <p:spPr bwMode="auto">
            <a:xfrm>
              <a:off x="5927726" y="5300663"/>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0" name="Groupe 449">
              <a:extLst>
                <a:ext uri="{FF2B5EF4-FFF2-40B4-BE49-F238E27FC236}">
                  <a16:creationId xmlns:a16="http://schemas.microsoft.com/office/drawing/2014/main" xmlns="" id="{B153D38D-8A43-44E6-A3D5-62D472C1EAE2}"/>
                </a:ext>
              </a:extLst>
            </p:cNvPr>
            <p:cNvGrpSpPr/>
            <p:nvPr/>
          </p:nvGrpSpPr>
          <p:grpSpPr>
            <a:xfrm>
              <a:off x="6227763" y="5492751"/>
              <a:ext cx="263525" cy="450850"/>
              <a:chOff x="6227763" y="5492751"/>
              <a:chExt cx="263525" cy="450850"/>
            </a:xfrm>
          </p:grpSpPr>
          <p:sp>
            <p:nvSpPr>
              <p:cNvPr id="451" name="Freeform 106">
                <a:extLst>
                  <a:ext uri="{FF2B5EF4-FFF2-40B4-BE49-F238E27FC236}">
                    <a16:creationId xmlns:a16="http://schemas.microsoft.com/office/drawing/2014/main" xmlns="" id="{406CC769-1DD9-4FAA-AA2C-1E4E797A5833}"/>
                  </a:ext>
                </a:extLst>
              </p:cNvPr>
              <p:cNvSpPr>
                <a:spLocks/>
              </p:cNvSpPr>
              <p:nvPr/>
            </p:nvSpPr>
            <p:spPr bwMode="auto">
              <a:xfrm>
                <a:off x="6284913" y="5827713"/>
                <a:ext cx="123825" cy="115888"/>
              </a:xfrm>
              <a:custGeom>
                <a:avLst/>
                <a:gdLst>
                  <a:gd name="T0" fmla="*/ 5 w 33"/>
                  <a:gd name="T1" fmla="*/ 24 h 31"/>
                  <a:gd name="T2" fmla="*/ 8 w 33"/>
                  <a:gd name="T3" fmla="*/ 4 h 31"/>
                  <a:gd name="T4" fmla="*/ 28 w 33"/>
                  <a:gd name="T5" fmla="*/ 7 h 31"/>
                  <a:gd name="T6" fmla="*/ 24 w 33"/>
                  <a:gd name="T7" fmla="*/ 26 h 31"/>
                  <a:gd name="T8" fmla="*/ 5 w 33"/>
                  <a:gd name="T9" fmla="*/ 24 h 31"/>
                </a:gdLst>
                <a:ahLst/>
                <a:cxnLst>
                  <a:cxn ang="0">
                    <a:pos x="T0" y="T1"/>
                  </a:cxn>
                  <a:cxn ang="0">
                    <a:pos x="T2" y="T3"/>
                  </a:cxn>
                  <a:cxn ang="0">
                    <a:pos x="T4" y="T5"/>
                  </a:cxn>
                  <a:cxn ang="0">
                    <a:pos x="T6" y="T7"/>
                  </a:cxn>
                  <a:cxn ang="0">
                    <a:pos x="T8" y="T9"/>
                  </a:cxn>
                </a:cxnLst>
                <a:rect l="0" t="0" r="r" b="b"/>
                <a:pathLst>
                  <a:path w="33" h="31">
                    <a:moveTo>
                      <a:pt x="5" y="24"/>
                    </a:moveTo>
                    <a:cubicBezTo>
                      <a:pt x="0" y="18"/>
                      <a:pt x="1" y="9"/>
                      <a:pt x="8" y="4"/>
                    </a:cubicBezTo>
                    <a:cubicBezTo>
                      <a:pt x="14" y="0"/>
                      <a:pt x="23" y="1"/>
                      <a:pt x="28" y="7"/>
                    </a:cubicBezTo>
                    <a:cubicBezTo>
                      <a:pt x="33" y="13"/>
                      <a:pt x="31" y="22"/>
                      <a:pt x="24" y="26"/>
                    </a:cubicBezTo>
                    <a:cubicBezTo>
                      <a:pt x="18" y="31"/>
                      <a:pt x="9" y="30"/>
                      <a:pt x="5" y="2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52" name="Freeform 107">
                <a:extLst>
                  <a:ext uri="{FF2B5EF4-FFF2-40B4-BE49-F238E27FC236}">
                    <a16:creationId xmlns:a16="http://schemas.microsoft.com/office/drawing/2014/main" xmlns="" id="{68571544-A2DF-468B-BBE6-BE8FE1E42437}"/>
                  </a:ext>
                </a:extLst>
              </p:cNvPr>
              <p:cNvSpPr>
                <a:spLocks noEditPoints="1"/>
              </p:cNvSpPr>
              <p:nvPr/>
            </p:nvSpPr>
            <p:spPr bwMode="auto">
              <a:xfrm>
                <a:off x="6227763" y="5492751"/>
                <a:ext cx="263525" cy="315913"/>
              </a:xfrm>
              <a:custGeom>
                <a:avLst/>
                <a:gdLst>
                  <a:gd name="T0" fmla="*/ 19 w 70"/>
                  <a:gd name="T1" fmla="*/ 84 h 84"/>
                  <a:gd name="T2" fmla="*/ 19 w 70"/>
                  <a:gd name="T3" fmla="*/ 84 h 84"/>
                  <a:gd name="T4" fmla="*/ 19 w 70"/>
                  <a:gd name="T5" fmla="*/ 84 h 84"/>
                  <a:gd name="T6" fmla="*/ 19 w 70"/>
                  <a:gd name="T7" fmla="*/ 80 h 84"/>
                  <a:gd name="T8" fmla="*/ 19 w 70"/>
                  <a:gd name="T9" fmla="*/ 76 h 84"/>
                  <a:gd name="T10" fmla="*/ 20 w 70"/>
                  <a:gd name="T11" fmla="*/ 68 h 84"/>
                  <a:gd name="T12" fmla="*/ 23 w 70"/>
                  <a:gd name="T13" fmla="*/ 60 h 84"/>
                  <a:gd name="T14" fmla="*/ 28 w 70"/>
                  <a:gd name="T15" fmla="*/ 54 h 84"/>
                  <a:gd name="T16" fmla="*/ 33 w 70"/>
                  <a:gd name="T17" fmla="*/ 48 h 84"/>
                  <a:gd name="T18" fmla="*/ 40 w 70"/>
                  <a:gd name="T19" fmla="*/ 41 h 84"/>
                  <a:gd name="T20" fmla="*/ 44 w 70"/>
                  <a:gd name="T21" fmla="*/ 32 h 84"/>
                  <a:gd name="T22" fmla="*/ 40 w 70"/>
                  <a:gd name="T23" fmla="*/ 25 h 84"/>
                  <a:gd name="T24" fmla="*/ 31 w 70"/>
                  <a:gd name="T25" fmla="*/ 22 h 84"/>
                  <a:gd name="T26" fmla="*/ 19 w 70"/>
                  <a:gd name="T27" fmla="*/ 23 h 84"/>
                  <a:gd name="T28" fmla="*/ 7 w 70"/>
                  <a:gd name="T29" fmla="*/ 28 h 84"/>
                  <a:gd name="T30" fmla="*/ 0 w 70"/>
                  <a:gd name="T31" fmla="*/ 9 h 84"/>
                  <a:gd name="T32" fmla="*/ 16 w 70"/>
                  <a:gd name="T33" fmla="*/ 2 h 84"/>
                  <a:gd name="T34" fmla="*/ 34 w 70"/>
                  <a:gd name="T35" fmla="*/ 0 h 84"/>
                  <a:gd name="T36" fmla="*/ 52 w 70"/>
                  <a:gd name="T37" fmla="*/ 3 h 84"/>
                  <a:gd name="T38" fmla="*/ 63 w 70"/>
                  <a:gd name="T39" fmla="*/ 10 h 84"/>
                  <a:gd name="T40" fmla="*/ 69 w 70"/>
                  <a:gd name="T41" fmla="*/ 20 h 84"/>
                  <a:gd name="T42" fmla="*/ 70 w 70"/>
                  <a:gd name="T43" fmla="*/ 30 h 84"/>
                  <a:gd name="T44" fmla="*/ 69 w 70"/>
                  <a:gd name="T45" fmla="*/ 39 h 84"/>
                  <a:gd name="T46" fmla="*/ 65 w 70"/>
                  <a:gd name="T47" fmla="*/ 46 h 84"/>
                  <a:gd name="T48" fmla="*/ 60 w 70"/>
                  <a:gd name="T49" fmla="*/ 53 h 84"/>
                  <a:gd name="T50" fmla="*/ 54 w 70"/>
                  <a:gd name="T51" fmla="*/ 59 h 84"/>
                  <a:gd name="T52" fmla="*/ 50 w 70"/>
                  <a:gd name="T53" fmla="*/ 63 h 84"/>
                  <a:gd name="T54" fmla="*/ 46 w 70"/>
                  <a:gd name="T55" fmla="*/ 68 h 84"/>
                  <a:gd name="T56" fmla="*/ 43 w 70"/>
                  <a:gd name="T57" fmla="*/ 74 h 84"/>
                  <a:gd name="T58" fmla="*/ 42 w 70"/>
                  <a:gd name="T59" fmla="*/ 79 h 84"/>
                  <a:gd name="T60" fmla="*/ 42 w 70"/>
                  <a:gd name="T61" fmla="*/ 79 h 84"/>
                  <a:gd name="T62" fmla="*/ 42 w 70"/>
                  <a:gd name="T63" fmla="*/ 79 h 84"/>
                  <a:gd name="T64" fmla="*/ 38 w 70"/>
                  <a:gd name="T65" fmla="*/ 84 h 84"/>
                  <a:gd name="T66" fmla="*/ 19 w 70"/>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84">
                    <a:moveTo>
                      <a:pt x="19" y="84"/>
                    </a:moveTo>
                    <a:cubicBezTo>
                      <a:pt x="19" y="84"/>
                      <a:pt x="19" y="84"/>
                      <a:pt x="19" y="84"/>
                    </a:cubicBezTo>
                    <a:moveTo>
                      <a:pt x="19" y="84"/>
                    </a:moveTo>
                    <a:cubicBezTo>
                      <a:pt x="19" y="80"/>
                      <a:pt x="19" y="80"/>
                      <a:pt x="19" y="80"/>
                    </a:cubicBezTo>
                    <a:cubicBezTo>
                      <a:pt x="19" y="78"/>
                      <a:pt x="19" y="77"/>
                      <a:pt x="19" y="76"/>
                    </a:cubicBezTo>
                    <a:cubicBezTo>
                      <a:pt x="19" y="73"/>
                      <a:pt x="19" y="70"/>
                      <a:pt x="20" y="68"/>
                    </a:cubicBezTo>
                    <a:cubicBezTo>
                      <a:pt x="21" y="65"/>
                      <a:pt x="22" y="63"/>
                      <a:pt x="23" y="60"/>
                    </a:cubicBezTo>
                    <a:cubicBezTo>
                      <a:pt x="25" y="58"/>
                      <a:pt x="26" y="56"/>
                      <a:pt x="28" y="54"/>
                    </a:cubicBezTo>
                    <a:cubicBezTo>
                      <a:pt x="29" y="52"/>
                      <a:pt x="31" y="50"/>
                      <a:pt x="33" y="48"/>
                    </a:cubicBezTo>
                    <a:cubicBezTo>
                      <a:pt x="36" y="46"/>
                      <a:pt x="38" y="43"/>
                      <a:pt x="40" y="41"/>
                    </a:cubicBezTo>
                    <a:cubicBezTo>
                      <a:pt x="42" y="38"/>
                      <a:pt x="44" y="35"/>
                      <a:pt x="44" y="32"/>
                    </a:cubicBezTo>
                    <a:cubicBezTo>
                      <a:pt x="44" y="29"/>
                      <a:pt x="43" y="27"/>
                      <a:pt x="40" y="25"/>
                    </a:cubicBezTo>
                    <a:cubicBezTo>
                      <a:pt x="38" y="23"/>
                      <a:pt x="35" y="22"/>
                      <a:pt x="31" y="22"/>
                    </a:cubicBezTo>
                    <a:cubicBezTo>
                      <a:pt x="27" y="22"/>
                      <a:pt x="23" y="22"/>
                      <a:pt x="19" y="23"/>
                    </a:cubicBezTo>
                    <a:cubicBezTo>
                      <a:pt x="16" y="24"/>
                      <a:pt x="12" y="26"/>
                      <a:pt x="7" y="28"/>
                    </a:cubicBezTo>
                    <a:cubicBezTo>
                      <a:pt x="0" y="9"/>
                      <a:pt x="0" y="9"/>
                      <a:pt x="0" y="9"/>
                    </a:cubicBezTo>
                    <a:cubicBezTo>
                      <a:pt x="4" y="6"/>
                      <a:pt x="10" y="4"/>
                      <a:pt x="16" y="2"/>
                    </a:cubicBezTo>
                    <a:cubicBezTo>
                      <a:pt x="22" y="1"/>
                      <a:pt x="28" y="0"/>
                      <a:pt x="34" y="0"/>
                    </a:cubicBezTo>
                    <a:cubicBezTo>
                      <a:pt x="41" y="0"/>
                      <a:pt x="47" y="1"/>
                      <a:pt x="52" y="3"/>
                    </a:cubicBezTo>
                    <a:cubicBezTo>
                      <a:pt x="56" y="5"/>
                      <a:pt x="60" y="7"/>
                      <a:pt x="63" y="10"/>
                    </a:cubicBezTo>
                    <a:cubicBezTo>
                      <a:pt x="66" y="13"/>
                      <a:pt x="68" y="16"/>
                      <a:pt x="69" y="20"/>
                    </a:cubicBezTo>
                    <a:cubicBezTo>
                      <a:pt x="70" y="24"/>
                      <a:pt x="70" y="27"/>
                      <a:pt x="70" y="30"/>
                    </a:cubicBezTo>
                    <a:cubicBezTo>
                      <a:pt x="70" y="33"/>
                      <a:pt x="70" y="36"/>
                      <a:pt x="69" y="39"/>
                    </a:cubicBezTo>
                    <a:cubicBezTo>
                      <a:pt x="68" y="42"/>
                      <a:pt x="67" y="44"/>
                      <a:pt x="65" y="46"/>
                    </a:cubicBezTo>
                    <a:cubicBezTo>
                      <a:pt x="64" y="49"/>
                      <a:pt x="62" y="51"/>
                      <a:pt x="60" y="53"/>
                    </a:cubicBezTo>
                    <a:cubicBezTo>
                      <a:pt x="58" y="55"/>
                      <a:pt x="56" y="57"/>
                      <a:pt x="54" y="59"/>
                    </a:cubicBezTo>
                    <a:cubicBezTo>
                      <a:pt x="53" y="60"/>
                      <a:pt x="52" y="62"/>
                      <a:pt x="50" y="63"/>
                    </a:cubicBezTo>
                    <a:cubicBezTo>
                      <a:pt x="49" y="65"/>
                      <a:pt x="47" y="66"/>
                      <a:pt x="46" y="68"/>
                    </a:cubicBezTo>
                    <a:cubicBezTo>
                      <a:pt x="45" y="70"/>
                      <a:pt x="44" y="72"/>
                      <a:pt x="43" y="74"/>
                    </a:cubicBezTo>
                    <a:cubicBezTo>
                      <a:pt x="42" y="75"/>
                      <a:pt x="42" y="77"/>
                      <a:pt x="42" y="79"/>
                    </a:cubicBezTo>
                    <a:cubicBezTo>
                      <a:pt x="42" y="79"/>
                      <a:pt x="42" y="79"/>
                      <a:pt x="42" y="79"/>
                    </a:cubicBezTo>
                    <a:cubicBezTo>
                      <a:pt x="42" y="79"/>
                      <a:pt x="42" y="79"/>
                      <a:pt x="42" y="79"/>
                    </a:cubicBezTo>
                    <a:cubicBezTo>
                      <a:pt x="42" y="82"/>
                      <a:pt x="40" y="84"/>
                      <a:pt x="38" y="84"/>
                    </a:cubicBezTo>
                    <a:lnTo>
                      <a:pt x="19" y="8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54" name="Groupe 453">
            <a:extLst>
              <a:ext uri="{FF2B5EF4-FFF2-40B4-BE49-F238E27FC236}">
                <a16:creationId xmlns:a16="http://schemas.microsoft.com/office/drawing/2014/main" xmlns="" id="{D579A32B-5E43-4A10-8055-22772AEDC1ED}"/>
              </a:ext>
            </a:extLst>
          </p:cNvPr>
          <p:cNvGrpSpPr>
            <a:grpSpLocks noChangeAspect="1"/>
          </p:cNvGrpSpPr>
          <p:nvPr/>
        </p:nvGrpSpPr>
        <p:grpSpPr>
          <a:xfrm>
            <a:off x="9784287" y="2594928"/>
            <a:ext cx="771829" cy="720000"/>
            <a:chOff x="6983413" y="5300663"/>
            <a:chExt cx="874713" cy="815975"/>
          </a:xfrm>
        </p:grpSpPr>
        <p:sp>
          <p:nvSpPr>
            <p:cNvPr id="455" name="Freeform 111">
              <a:extLst>
                <a:ext uri="{FF2B5EF4-FFF2-40B4-BE49-F238E27FC236}">
                  <a16:creationId xmlns:a16="http://schemas.microsoft.com/office/drawing/2014/main" xmlns="" id="{1558419A-65B7-4FE1-A617-BBA16D492751}"/>
                </a:ext>
              </a:extLst>
            </p:cNvPr>
            <p:cNvSpPr>
              <a:spLocks/>
            </p:cNvSpPr>
            <p:nvPr/>
          </p:nvSpPr>
          <p:spPr bwMode="auto">
            <a:xfrm>
              <a:off x="6983413" y="5300663"/>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6" name="Groupe 455">
              <a:extLst>
                <a:ext uri="{FF2B5EF4-FFF2-40B4-BE49-F238E27FC236}">
                  <a16:creationId xmlns:a16="http://schemas.microsoft.com/office/drawing/2014/main" xmlns="" id="{55889AAA-DCBF-486A-9684-6125B708896E}"/>
                </a:ext>
              </a:extLst>
            </p:cNvPr>
            <p:cNvGrpSpPr/>
            <p:nvPr/>
          </p:nvGrpSpPr>
          <p:grpSpPr>
            <a:xfrm>
              <a:off x="7350126" y="5470526"/>
              <a:ext cx="136525" cy="465137"/>
              <a:chOff x="7350126" y="5470526"/>
              <a:chExt cx="136525" cy="465137"/>
            </a:xfrm>
          </p:grpSpPr>
          <p:sp>
            <p:nvSpPr>
              <p:cNvPr id="457" name="Freeform 112">
                <a:extLst>
                  <a:ext uri="{FF2B5EF4-FFF2-40B4-BE49-F238E27FC236}">
                    <a16:creationId xmlns:a16="http://schemas.microsoft.com/office/drawing/2014/main" xmlns="" id="{1E2AB8E5-70EB-4485-AD29-CA3F0B0C9CAE}"/>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3">
                <a:extLst>
                  <a:ext uri="{FF2B5EF4-FFF2-40B4-BE49-F238E27FC236}">
                    <a16:creationId xmlns:a16="http://schemas.microsoft.com/office/drawing/2014/main" xmlns="" id="{0DA4D085-F23D-47A5-8F3A-28F0B498A29E}"/>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59" name="Groupe 458">
            <a:extLst>
              <a:ext uri="{FF2B5EF4-FFF2-40B4-BE49-F238E27FC236}">
                <a16:creationId xmlns:a16="http://schemas.microsoft.com/office/drawing/2014/main" xmlns="" id="{0289E44E-5F2B-42F2-90A5-32CA2C755635}"/>
              </a:ext>
            </a:extLst>
          </p:cNvPr>
          <p:cNvGrpSpPr>
            <a:grpSpLocks noChangeAspect="1"/>
          </p:cNvGrpSpPr>
          <p:nvPr/>
        </p:nvGrpSpPr>
        <p:grpSpPr>
          <a:xfrm>
            <a:off x="3190985" y="3935884"/>
            <a:ext cx="776360" cy="720000"/>
            <a:chOff x="7837488" y="1939925"/>
            <a:chExt cx="874713" cy="811213"/>
          </a:xfrm>
        </p:grpSpPr>
        <p:sp>
          <p:nvSpPr>
            <p:cNvPr id="460" name="Freeform 22">
              <a:extLst>
                <a:ext uri="{FF2B5EF4-FFF2-40B4-BE49-F238E27FC236}">
                  <a16:creationId xmlns:a16="http://schemas.microsoft.com/office/drawing/2014/main" xmlns="" id="{8F52EBBE-A18B-4028-9007-1BBB155FE505}"/>
                </a:ext>
              </a:extLst>
            </p:cNvPr>
            <p:cNvSpPr>
              <a:spLocks/>
            </p:cNvSpPr>
            <p:nvPr/>
          </p:nvSpPr>
          <p:spPr bwMode="auto">
            <a:xfrm>
              <a:off x="7837488" y="1939925"/>
              <a:ext cx="874713" cy="811213"/>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61" name="Groupe 460">
              <a:extLst>
                <a:ext uri="{FF2B5EF4-FFF2-40B4-BE49-F238E27FC236}">
                  <a16:creationId xmlns:a16="http://schemas.microsoft.com/office/drawing/2014/main" xmlns="" id="{FB983E13-F877-43F6-8C92-6ECD4CB3115A}"/>
                </a:ext>
              </a:extLst>
            </p:cNvPr>
            <p:cNvGrpSpPr/>
            <p:nvPr/>
          </p:nvGrpSpPr>
          <p:grpSpPr>
            <a:xfrm>
              <a:off x="8093076" y="2165350"/>
              <a:ext cx="360363" cy="360363"/>
              <a:chOff x="8093076" y="2165350"/>
              <a:chExt cx="360363" cy="360363"/>
            </a:xfrm>
          </p:grpSpPr>
          <p:sp>
            <p:nvSpPr>
              <p:cNvPr id="462" name="Freeform 97">
                <a:extLst>
                  <a:ext uri="{FF2B5EF4-FFF2-40B4-BE49-F238E27FC236}">
                    <a16:creationId xmlns:a16="http://schemas.microsoft.com/office/drawing/2014/main" xmlns="" id="{70988D58-20D5-4AAF-887B-B35287DD02C1}"/>
                  </a:ext>
                </a:extLst>
              </p:cNvPr>
              <p:cNvSpPr>
                <a:spLocks noEditPoints="1"/>
              </p:cNvSpPr>
              <p:nvPr/>
            </p:nvSpPr>
            <p:spPr bwMode="auto">
              <a:xfrm>
                <a:off x="8093076" y="2165350"/>
                <a:ext cx="360363" cy="360363"/>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6 h 96"/>
                  <a:gd name="T12" fmla="*/ 6 w 96"/>
                  <a:gd name="T13" fmla="*/ 48 h 96"/>
                  <a:gd name="T14" fmla="*/ 48 w 96"/>
                  <a:gd name="T15" fmla="*/ 90 h 96"/>
                  <a:gd name="T16" fmla="*/ 90 w 96"/>
                  <a:gd name="T17" fmla="*/ 48 h 96"/>
                  <a:gd name="T18" fmla="*/ 48 w 96"/>
                  <a:gd name="T19"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6"/>
                    </a:moveTo>
                    <a:cubicBezTo>
                      <a:pt x="25" y="6"/>
                      <a:pt x="6" y="25"/>
                      <a:pt x="6" y="48"/>
                    </a:cubicBezTo>
                    <a:cubicBezTo>
                      <a:pt x="6" y="71"/>
                      <a:pt x="25" y="90"/>
                      <a:pt x="48" y="90"/>
                    </a:cubicBezTo>
                    <a:cubicBezTo>
                      <a:pt x="71" y="90"/>
                      <a:pt x="90" y="71"/>
                      <a:pt x="90" y="48"/>
                    </a:cubicBezTo>
                    <a:cubicBezTo>
                      <a:pt x="90" y="25"/>
                      <a:pt x="71" y="6"/>
                      <a:pt x="4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Rectangle 98">
                <a:extLst>
                  <a:ext uri="{FF2B5EF4-FFF2-40B4-BE49-F238E27FC236}">
                    <a16:creationId xmlns:a16="http://schemas.microsoft.com/office/drawing/2014/main" xmlns="" id="{F1F80705-20F5-4C56-8678-BEED4CE90318}"/>
                  </a:ext>
                </a:extLst>
              </p:cNvPr>
              <p:cNvSpPr>
                <a:spLocks noChangeArrowheads="1"/>
              </p:cNvSpPr>
              <p:nvPr/>
            </p:nvSpPr>
            <p:spPr bwMode="auto">
              <a:xfrm>
                <a:off x="8264526" y="2187575"/>
                <a:ext cx="111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Rectangle 99">
                <a:extLst>
                  <a:ext uri="{FF2B5EF4-FFF2-40B4-BE49-F238E27FC236}">
                    <a16:creationId xmlns:a16="http://schemas.microsoft.com/office/drawing/2014/main" xmlns="" id="{576FB8FC-5857-4AE3-9B87-FA9343B345E5}"/>
                  </a:ext>
                </a:extLst>
              </p:cNvPr>
              <p:cNvSpPr>
                <a:spLocks noChangeArrowheads="1"/>
              </p:cNvSpPr>
              <p:nvPr/>
            </p:nvSpPr>
            <p:spPr bwMode="auto">
              <a:xfrm>
                <a:off x="8264526" y="2470150"/>
                <a:ext cx="11113" cy="33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Rectangle 100">
                <a:extLst>
                  <a:ext uri="{FF2B5EF4-FFF2-40B4-BE49-F238E27FC236}">
                    <a16:creationId xmlns:a16="http://schemas.microsoft.com/office/drawing/2014/main" xmlns="" id="{A777A4C7-9577-4380-9C2B-EECD05860536}"/>
                  </a:ext>
                </a:extLst>
              </p:cNvPr>
              <p:cNvSpPr>
                <a:spLocks noChangeArrowheads="1"/>
              </p:cNvSpPr>
              <p:nvPr/>
            </p:nvSpPr>
            <p:spPr bwMode="auto">
              <a:xfrm>
                <a:off x="8396288" y="2341562"/>
                <a:ext cx="33338"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Rectangle 101">
                <a:extLst>
                  <a:ext uri="{FF2B5EF4-FFF2-40B4-BE49-F238E27FC236}">
                    <a16:creationId xmlns:a16="http://schemas.microsoft.com/office/drawing/2014/main" xmlns="" id="{C97D1D0C-D14B-4658-B405-3D6595DE3DEB}"/>
                  </a:ext>
                </a:extLst>
              </p:cNvPr>
              <p:cNvSpPr>
                <a:spLocks noChangeArrowheads="1"/>
              </p:cNvSpPr>
              <p:nvPr/>
            </p:nvSpPr>
            <p:spPr bwMode="auto">
              <a:xfrm>
                <a:off x="8110538" y="2341562"/>
                <a:ext cx="34925" cy="111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102">
                <a:extLst>
                  <a:ext uri="{FF2B5EF4-FFF2-40B4-BE49-F238E27FC236}">
                    <a16:creationId xmlns:a16="http://schemas.microsoft.com/office/drawing/2014/main" xmlns="" id="{5A43A14F-610A-4A10-9AC2-CD8CA2C65538}"/>
                  </a:ext>
                </a:extLst>
              </p:cNvPr>
              <p:cNvSpPr>
                <a:spLocks/>
              </p:cNvSpPr>
              <p:nvPr/>
            </p:nvSpPr>
            <p:spPr bwMode="auto">
              <a:xfrm>
                <a:off x="8201026" y="2297112"/>
                <a:ext cx="63500" cy="52388"/>
              </a:xfrm>
              <a:custGeom>
                <a:avLst/>
                <a:gdLst>
                  <a:gd name="T0" fmla="*/ 36 w 40"/>
                  <a:gd name="T1" fmla="*/ 33 h 33"/>
                  <a:gd name="T2" fmla="*/ 0 w 40"/>
                  <a:gd name="T3" fmla="*/ 4 h 33"/>
                  <a:gd name="T4" fmla="*/ 5 w 40"/>
                  <a:gd name="T5" fmla="*/ 0 h 33"/>
                  <a:gd name="T6" fmla="*/ 40 w 40"/>
                  <a:gd name="T7" fmla="*/ 26 h 33"/>
                  <a:gd name="T8" fmla="*/ 36 w 40"/>
                  <a:gd name="T9" fmla="*/ 33 h 33"/>
                </a:gdLst>
                <a:ahLst/>
                <a:cxnLst>
                  <a:cxn ang="0">
                    <a:pos x="T0" y="T1"/>
                  </a:cxn>
                  <a:cxn ang="0">
                    <a:pos x="T2" y="T3"/>
                  </a:cxn>
                  <a:cxn ang="0">
                    <a:pos x="T4" y="T5"/>
                  </a:cxn>
                  <a:cxn ang="0">
                    <a:pos x="T6" y="T7"/>
                  </a:cxn>
                  <a:cxn ang="0">
                    <a:pos x="T8" y="T9"/>
                  </a:cxn>
                </a:cxnLst>
                <a:rect l="0" t="0" r="r" b="b"/>
                <a:pathLst>
                  <a:path w="40" h="33">
                    <a:moveTo>
                      <a:pt x="36" y="33"/>
                    </a:moveTo>
                    <a:lnTo>
                      <a:pt x="0" y="4"/>
                    </a:lnTo>
                    <a:lnTo>
                      <a:pt x="5" y="0"/>
                    </a:lnTo>
                    <a:lnTo>
                      <a:pt x="40" y="26"/>
                    </a:lnTo>
                    <a:lnTo>
                      <a:pt x="36" y="3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03">
                <a:extLst>
                  <a:ext uri="{FF2B5EF4-FFF2-40B4-BE49-F238E27FC236}">
                    <a16:creationId xmlns:a16="http://schemas.microsoft.com/office/drawing/2014/main" xmlns="" id="{2A465760-5530-4AF1-9403-3D3BBDCF8B47}"/>
                  </a:ext>
                </a:extLst>
              </p:cNvPr>
              <p:cNvSpPr>
                <a:spLocks/>
              </p:cNvSpPr>
              <p:nvPr/>
            </p:nvSpPr>
            <p:spPr bwMode="auto">
              <a:xfrm>
                <a:off x="8272463" y="2255837"/>
                <a:ext cx="93663" cy="93663"/>
              </a:xfrm>
              <a:custGeom>
                <a:avLst/>
                <a:gdLst>
                  <a:gd name="T0" fmla="*/ 5 w 59"/>
                  <a:gd name="T1" fmla="*/ 59 h 59"/>
                  <a:gd name="T2" fmla="*/ 0 w 59"/>
                  <a:gd name="T3" fmla="*/ 54 h 59"/>
                  <a:gd name="T4" fmla="*/ 55 w 59"/>
                  <a:gd name="T5" fmla="*/ 0 h 59"/>
                  <a:gd name="T6" fmla="*/ 59 w 59"/>
                  <a:gd name="T7" fmla="*/ 4 h 59"/>
                  <a:gd name="T8" fmla="*/ 5 w 59"/>
                  <a:gd name="T9" fmla="*/ 59 h 59"/>
                </a:gdLst>
                <a:ahLst/>
                <a:cxnLst>
                  <a:cxn ang="0">
                    <a:pos x="T0" y="T1"/>
                  </a:cxn>
                  <a:cxn ang="0">
                    <a:pos x="T2" y="T3"/>
                  </a:cxn>
                  <a:cxn ang="0">
                    <a:pos x="T4" y="T5"/>
                  </a:cxn>
                  <a:cxn ang="0">
                    <a:pos x="T6" y="T7"/>
                  </a:cxn>
                  <a:cxn ang="0">
                    <a:pos x="T8" y="T9"/>
                  </a:cxn>
                </a:cxnLst>
                <a:rect l="0" t="0" r="r" b="b"/>
                <a:pathLst>
                  <a:path w="59" h="59">
                    <a:moveTo>
                      <a:pt x="5" y="59"/>
                    </a:moveTo>
                    <a:lnTo>
                      <a:pt x="0" y="54"/>
                    </a:lnTo>
                    <a:lnTo>
                      <a:pt x="55" y="0"/>
                    </a:lnTo>
                    <a:lnTo>
                      <a:pt x="59" y="4"/>
                    </a:lnTo>
                    <a:lnTo>
                      <a:pt x="5" y="5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04">
                <a:extLst>
                  <a:ext uri="{FF2B5EF4-FFF2-40B4-BE49-F238E27FC236}">
                    <a16:creationId xmlns:a16="http://schemas.microsoft.com/office/drawing/2014/main" xmlns="" id="{3A006D80-E338-48BB-84D4-1F42904402E8}"/>
                  </a:ext>
                </a:extLst>
              </p:cNvPr>
              <p:cNvSpPr>
                <a:spLocks/>
              </p:cNvSpPr>
              <p:nvPr/>
            </p:nvSpPr>
            <p:spPr bwMode="auto">
              <a:xfrm>
                <a:off x="8253413" y="2330450"/>
                <a:ext cx="34925" cy="33338"/>
              </a:xfrm>
              <a:custGeom>
                <a:avLst/>
                <a:gdLst>
                  <a:gd name="T0" fmla="*/ 4 w 9"/>
                  <a:gd name="T1" fmla="*/ 8 h 9"/>
                  <a:gd name="T2" fmla="*/ 9 w 9"/>
                  <a:gd name="T3" fmla="*/ 5 h 9"/>
                  <a:gd name="T4" fmla="*/ 6 w 9"/>
                  <a:gd name="T5" fmla="*/ 0 h 9"/>
                  <a:gd name="T6" fmla="*/ 1 w 9"/>
                  <a:gd name="T7" fmla="*/ 3 h 9"/>
                  <a:gd name="T8" fmla="*/ 4 w 9"/>
                  <a:gd name="T9" fmla="*/ 8 h 9"/>
                </a:gdLst>
                <a:ahLst/>
                <a:cxnLst>
                  <a:cxn ang="0">
                    <a:pos x="T0" y="T1"/>
                  </a:cxn>
                  <a:cxn ang="0">
                    <a:pos x="T2" y="T3"/>
                  </a:cxn>
                  <a:cxn ang="0">
                    <a:pos x="T4" y="T5"/>
                  </a:cxn>
                  <a:cxn ang="0">
                    <a:pos x="T6" y="T7"/>
                  </a:cxn>
                  <a:cxn ang="0">
                    <a:pos x="T8" y="T9"/>
                  </a:cxn>
                </a:cxnLst>
                <a:rect l="0" t="0" r="r" b="b"/>
                <a:pathLst>
                  <a:path w="9" h="9">
                    <a:moveTo>
                      <a:pt x="4" y="8"/>
                    </a:moveTo>
                    <a:cubicBezTo>
                      <a:pt x="5" y="9"/>
                      <a:pt x="8" y="8"/>
                      <a:pt x="9" y="5"/>
                    </a:cubicBezTo>
                    <a:cubicBezTo>
                      <a:pt x="9" y="3"/>
                      <a:pt x="8" y="1"/>
                      <a:pt x="6" y="0"/>
                    </a:cubicBezTo>
                    <a:cubicBezTo>
                      <a:pt x="4" y="0"/>
                      <a:pt x="1" y="1"/>
                      <a:pt x="1" y="3"/>
                    </a:cubicBezTo>
                    <a:cubicBezTo>
                      <a:pt x="0" y="5"/>
                      <a:pt x="2" y="8"/>
                      <a:pt x="4"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70" name="Groupe 469">
            <a:extLst>
              <a:ext uri="{FF2B5EF4-FFF2-40B4-BE49-F238E27FC236}">
                <a16:creationId xmlns:a16="http://schemas.microsoft.com/office/drawing/2014/main" xmlns="" id="{49FB0E9F-25B0-413C-8620-7E76CD8B8F79}"/>
              </a:ext>
            </a:extLst>
          </p:cNvPr>
          <p:cNvGrpSpPr>
            <a:grpSpLocks noChangeAspect="1"/>
          </p:cNvGrpSpPr>
          <p:nvPr/>
        </p:nvGrpSpPr>
        <p:grpSpPr>
          <a:xfrm>
            <a:off x="2246795" y="3935884"/>
            <a:ext cx="773542" cy="720000"/>
            <a:chOff x="3602038" y="1939925"/>
            <a:chExt cx="871538" cy="811213"/>
          </a:xfrm>
        </p:grpSpPr>
        <p:sp>
          <p:nvSpPr>
            <p:cNvPr id="471" name="Freeform 24">
              <a:extLst>
                <a:ext uri="{FF2B5EF4-FFF2-40B4-BE49-F238E27FC236}">
                  <a16:creationId xmlns:a16="http://schemas.microsoft.com/office/drawing/2014/main" xmlns="" id="{993AB88C-F7C7-4BCB-9B20-80E3DE3BEA12}"/>
                </a:ext>
              </a:extLst>
            </p:cNvPr>
            <p:cNvSpPr>
              <a:spLocks/>
            </p:cNvSpPr>
            <p:nvPr/>
          </p:nvSpPr>
          <p:spPr bwMode="auto">
            <a:xfrm>
              <a:off x="3602038"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72" name="Groupe 471">
              <a:extLst>
                <a:ext uri="{FF2B5EF4-FFF2-40B4-BE49-F238E27FC236}">
                  <a16:creationId xmlns:a16="http://schemas.microsoft.com/office/drawing/2014/main" xmlns="" id="{3B24BA78-CD70-4566-9E3E-7CACF0A889D0}"/>
                </a:ext>
              </a:extLst>
            </p:cNvPr>
            <p:cNvGrpSpPr/>
            <p:nvPr/>
          </p:nvGrpSpPr>
          <p:grpSpPr>
            <a:xfrm>
              <a:off x="3884613" y="2157412"/>
              <a:ext cx="303213" cy="398463"/>
              <a:chOff x="3884613" y="2157412"/>
              <a:chExt cx="303213" cy="398463"/>
            </a:xfrm>
          </p:grpSpPr>
          <p:sp>
            <p:nvSpPr>
              <p:cNvPr id="473" name="Freeform 110">
                <a:extLst>
                  <a:ext uri="{FF2B5EF4-FFF2-40B4-BE49-F238E27FC236}">
                    <a16:creationId xmlns:a16="http://schemas.microsoft.com/office/drawing/2014/main" xmlns="" id="{B3E18555-E456-4D24-850C-E9ED1B19B432}"/>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11">
                <a:extLst>
                  <a:ext uri="{FF2B5EF4-FFF2-40B4-BE49-F238E27FC236}">
                    <a16:creationId xmlns:a16="http://schemas.microsoft.com/office/drawing/2014/main" xmlns="" id="{F9D2CD68-E1C8-493C-AE48-23231E2CA4D7}"/>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12">
                <a:extLst>
                  <a:ext uri="{FF2B5EF4-FFF2-40B4-BE49-F238E27FC236}">
                    <a16:creationId xmlns:a16="http://schemas.microsoft.com/office/drawing/2014/main" xmlns="" id="{1DA2C970-F8EE-47A8-83D7-810D52CCB04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13">
                <a:extLst>
                  <a:ext uri="{FF2B5EF4-FFF2-40B4-BE49-F238E27FC236}">
                    <a16:creationId xmlns:a16="http://schemas.microsoft.com/office/drawing/2014/main" xmlns="" id="{90CA0BB5-96A6-4E88-A8F1-B3C14E86A18A}"/>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77" name="Groupe 476">
            <a:extLst>
              <a:ext uri="{FF2B5EF4-FFF2-40B4-BE49-F238E27FC236}">
                <a16:creationId xmlns:a16="http://schemas.microsoft.com/office/drawing/2014/main" xmlns="" id="{675E2716-15E1-4E5A-B6E8-580C38AB7FFF}"/>
              </a:ext>
            </a:extLst>
          </p:cNvPr>
          <p:cNvGrpSpPr>
            <a:grpSpLocks noChangeAspect="1"/>
          </p:cNvGrpSpPr>
          <p:nvPr/>
        </p:nvGrpSpPr>
        <p:grpSpPr>
          <a:xfrm>
            <a:off x="445998" y="3935884"/>
            <a:ext cx="770526" cy="720000"/>
            <a:chOff x="1481138" y="1936750"/>
            <a:chExt cx="871538" cy="814388"/>
          </a:xfrm>
        </p:grpSpPr>
        <p:sp>
          <p:nvSpPr>
            <p:cNvPr id="478" name="Freeform 16">
              <a:extLst>
                <a:ext uri="{FF2B5EF4-FFF2-40B4-BE49-F238E27FC236}">
                  <a16:creationId xmlns:a16="http://schemas.microsoft.com/office/drawing/2014/main" xmlns="" id="{AD8A5944-BABA-4195-A84C-0220701DDE57}"/>
                </a:ext>
              </a:extLst>
            </p:cNvPr>
            <p:cNvSpPr>
              <a:spLocks/>
            </p:cNvSpPr>
            <p:nvPr/>
          </p:nvSpPr>
          <p:spPr bwMode="auto">
            <a:xfrm>
              <a:off x="1481138" y="1936750"/>
              <a:ext cx="871538"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15">
              <a:extLst>
                <a:ext uri="{FF2B5EF4-FFF2-40B4-BE49-F238E27FC236}">
                  <a16:creationId xmlns:a16="http://schemas.microsoft.com/office/drawing/2014/main" xmlns="" id="{C98A5918-8DF7-45B7-9104-F2067B4F5563}"/>
                </a:ext>
              </a:extLst>
            </p:cNvPr>
            <p:cNvSpPr>
              <a:spLocks/>
            </p:cNvSpPr>
            <p:nvPr/>
          </p:nvSpPr>
          <p:spPr bwMode="auto">
            <a:xfrm>
              <a:off x="1747838" y="2176462"/>
              <a:ext cx="315913" cy="346075"/>
            </a:xfrm>
            <a:custGeom>
              <a:avLst/>
              <a:gdLst>
                <a:gd name="T0" fmla="*/ 84 w 84"/>
                <a:gd name="T1" fmla="*/ 15 h 92"/>
                <a:gd name="T2" fmla="*/ 72 w 84"/>
                <a:gd name="T3" fmla="*/ 19 h 92"/>
                <a:gd name="T4" fmla="*/ 67 w 84"/>
                <a:gd name="T5" fmla="*/ 18 h 92"/>
                <a:gd name="T6" fmla="*/ 61 w 84"/>
                <a:gd name="T7" fmla="*/ 17 h 92"/>
                <a:gd name="T8" fmla="*/ 48 w 84"/>
                <a:gd name="T9" fmla="*/ 16 h 92"/>
                <a:gd name="T10" fmla="*/ 45 w 84"/>
                <a:gd name="T11" fmla="*/ 16 h 92"/>
                <a:gd name="T12" fmla="*/ 44 w 84"/>
                <a:gd name="T13" fmla="*/ 20 h 92"/>
                <a:gd name="T14" fmla="*/ 44 w 84"/>
                <a:gd name="T15" fmla="*/ 22 h 92"/>
                <a:gd name="T16" fmla="*/ 44 w 84"/>
                <a:gd name="T17" fmla="*/ 28 h 92"/>
                <a:gd name="T18" fmla="*/ 44 w 84"/>
                <a:gd name="T19" fmla="*/ 45 h 92"/>
                <a:gd name="T20" fmla="*/ 44 w 84"/>
                <a:gd name="T21" fmla="*/ 61 h 92"/>
                <a:gd name="T22" fmla="*/ 44 w 84"/>
                <a:gd name="T23" fmla="*/ 69 h 92"/>
                <a:gd name="T24" fmla="*/ 44 w 84"/>
                <a:gd name="T25" fmla="*/ 69 h 92"/>
                <a:gd name="T26" fmla="*/ 32 w 84"/>
                <a:gd name="T27" fmla="*/ 87 h 92"/>
                <a:gd name="T28" fmla="*/ 4 w 84"/>
                <a:gd name="T29" fmla="*/ 80 h 92"/>
                <a:gd name="T30" fmla="*/ 17 w 84"/>
                <a:gd name="T31" fmla="*/ 59 h 92"/>
                <a:gd name="T32" fmla="*/ 37 w 84"/>
                <a:gd name="T33" fmla="*/ 57 h 92"/>
                <a:gd name="T34" fmla="*/ 36 w 84"/>
                <a:gd name="T35" fmla="*/ 4 h 92"/>
                <a:gd name="T36" fmla="*/ 47 w 84"/>
                <a:gd name="T37" fmla="*/ 0 h 92"/>
                <a:gd name="T38" fmla="*/ 74 w 84"/>
                <a:gd name="T39" fmla="*/ 11 h 92"/>
                <a:gd name="T40" fmla="*/ 84 w 84"/>
                <a:gd name="T41"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92">
                  <a:moveTo>
                    <a:pt x="84" y="15"/>
                  </a:moveTo>
                  <a:cubicBezTo>
                    <a:pt x="84" y="15"/>
                    <a:pt x="79" y="19"/>
                    <a:pt x="72" y="19"/>
                  </a:cubicBezTo>
                  <a:cubicBezTo>
                    <a:pt x="71" y="19"/>
                    <a:pt x="69" y="19"/>
                    <a:pt x="67" y="18"/>
                  </a:cubicBezTo>
                  <a:cubicBezTo>
                    <a:pt x="65" y="18"/>
                    <a:pt x="63" y="17"/>
                    <a:pt x="61" y="17"/>
                  </a:cubicBezTo>
                  <a:cubicBezTo>
                    <a:pt x="57" y="16"/>
                    <a:pt x="53" y="15"/>
                    <a:pt x="48" y="16"/>
                  </a:cubicBezTo>
                  <a:cubicBezTo>
                    <a:pt x="46" y="16"/>
                    <a:pt x="46" y="16"/>
                    <a:pt x="45" y="16"/>
                  </a:cubicBezTo>
                  <a:cubicBezTo>
                    <a:pt x="44" y="17"/>
                    <a:pt x="44" y="19"/>
                    <a:pt x="44" y="20"/>
                  </a:cubicBezTo>
                  <a:cubicBezTo>
                    <a:pt x="44" y="20"/>
                    <a:pt x="44" y="21"/>
                    <a:pt x="44" y="22"/>
                  </a:cubicBezTo>
                  <a:cubicBezTo>
                    <a:pt x="44" y="24"/>
                    <a:pt x="44" y="26"/>
                    <a:pt x="44" y="28"/>
                  </a:cubicBezTo>
                  <a:cubicBezTo>
                    <a:pt x="44" y="34"/>
                    <a:pt x="44" y="40"/>
                    <a:pt x="44" y="45"/>
                  </a:cubicBezTo>
                  <a:cubicBezTo>
                    <a:pt x="44" y="50"/>
                    <a:pt x="44" y="56"/>
                    <a:pt x="44" y="61"/>
                  </a:cubicBezTo>
                  <a:cubicBezTo>
                    <a:pt x="44" y="64"/>
                    <a:pt x="44" y="66"/>
                    <a:pt x="44" y="69"/>
                  </a:cubicBezTo>
                  <a:cubicBezTo>
                    <a:pt x="44" y="69"/>
                    <a:pt x="44" y="69"/>
                    <a:pt x="44" y="69"/>
                  </a:cubicBezTo>
                  <a:cubicBezTo>
                    <a:pt x="44" y="76"/>
                    <a:pt x="40" y="83"/>
                    <a:pt x="32" y="87"/>
                  </a:cubicBezTo>
                  <a:cubicBezTo>
                    <a:pt x="22" y="92"/>
                    <a:pt x="8" y="88"/>
                    <a:pt x="4" y="80"/>
                  </a:cubicBezTo>
                  <a:cubicBezTo>
                    <a:pt x="0" y="72"/>
                    <a:pt x="7" y="64"/>
                    <a:pt x="17" y="59"/>
                  </a:cubicBezTo>
                  <a:cubicBezTo>
                    <a:pt x="24" y="55"/>
                    <a:pt x="32" y="54"/>
                    <a:pt x="37" y="57"/>
                  </a:cubicBezTo>
                  <a:cubicBezTo>
                    <a:pt x="36" y="4"/>
                    <a:pt x="36" y="4"/>
                    <a:pt x="36" y="4"/>
                  </a:cubicBezTo>
                  <a:cubicBezTo>
                    <a:pt x="36" y="1"/>
                    <a:pt x="47" y="0"/>
                    <a:pt x="47" y="0"/>
                  </a:cubicBezTo>
                  <a:cubicBezTo>
                    <a:pt x="58" y="0"/>
                    <a:pt x="67" y="8"/>
                    <a:pt x="74" y="11"/>
                  </a:cubicBezTo>
                  <a:cubicBezTo>
                    <a:pt x="80" y="15"/>
                    <a:pt x="84" y="15"/>
                    <a:pt x="84" y="15"/>
                  </a:cubicBezTo>
                  <a:close/>
                </a:path>
              </a:pathLst>
            </a:custGeom>
            <a:solidFill>
              <a:srgbClr val="C8FF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84" name="Groupe 483">
            <a:extLst>
              <a:ext uri="{FF2B5EF4-FFF2-40B4-BE49-F238E27FC236}">
                <a16:creationId xmlns:a16="http://schemas.microsoft.com/office/drawing/2014/main" xmlns="" id="{947039C0-8289-4FF2-BAED-77777A6301FE}"/>
              </a:ext>
            </a:extLst>
          </p:cNvPr>
          <p:cNvGrpSpPr>
            <a:grpSpLocks noChangeAspect="1"/>
          </p:cNvGrpSpPr>
          <p:nvPr/>
        </p:nvGrpSpPr>
        <p:grpSpPr>
          <a:xfrm>
            <a:off x="4137993" y="3935884"/>
            <a:ext cx="770526" cy="720000"/>
            <a:chOff x="4660901" y="5111750"/>
            <a:chExt cx="871538" cy="814388"/>
          </a:xfrm>
        </p:grpSpPr>
        <p:sp>
          <p:nvSpPr>
            <p:cNvPr id="485" name="Freeform 40">
              <a:extLst>
                <a:ext uri="{FF2B5EF4-FFF2-40B4-BE49-F238E27FC236}">
                  <a16:creationId xmlns:a16="http://schemas.microsoft.com/office/drawing/2014/main" xmlns="" id="{596C586F-9971-4390-9B2D-0B433ED29D3D}"/>
                </a:ext>
              </a:extLst>
            </p:cNvPr>
            <p:cNvSpPr>
              <a:spLocks/>
            </p:cNvSpPr>
            <p:nvPr/>
          </p:nvSpPr>
          <p:spPr bwMode="auto">
            <a:xfrm>
              <a:off x="4660901" y="5111750"/>
              <a:ext cx="871538"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3"/>
                  </a:cubicBezTo>
                  <a:cubicBezTo>
                    <a:pt x="101" y="0"/>
                    <a:pt x="165" y="9"/>
                    <a:pt x="198" y="53"/>
                  </a:cubicBezTo>
                  <a:cubicBezTo>
                    <a:pt x="232" y="96"/>
                    <a:pt x="218" y="153"/>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86" name="Groupe 485">
              <a:extLst>
                <a:ext uri="{FF2B5EF4-FFF2-40B4-BE49-F238E27FC236}">
                  <a16:creationId xmlns:a16="http://schemas.microsoft.com/office/drawing/2014/main" xmlns="" id="{595DB313-9536-4614-8103-C369D039A1D3}"/>
                </a:ext>
              </a:extLst>
            </p:cNvPr>
            <p:cNvGrpSpPr/>
            <p:nvPr/>
          </p:nvGrpSpPr>
          <p:grpSpPr>
            <a:xfrm>
              <a:off x="4878388" y="5310188"/>
              <a:ext cx="425450" cy="341312"/>
              <a:chOff x="4878388" y="5310188"/>
              <a:chExt cx="425450" cy="341312"/>
            </a:xfrm>
          </p:grpSpPr>
          <p:sp>
            <p:nvSpPr>
              <p:cNvPr id="487" name="Freeform 47">
                <a:extLst>
                  <a:ext uri="{FF2B5EF4-FFF2-40B4-BE49-F238E27FC236}">
                    <a16:creationId xmlns:a16="http://schemas.microsoft.com/office/drawing/2014/main" xmlns="" id="{805D4E10-7765-44FA-B318-77C1FF709256}"/>
                  </a:ext>
                </a:extLst>
              </p:cNvPr>
              <p:cNvSpPr>
                <a:spLocks/>
              </p:cNvSpPr>
              <p:nvPr/>
            </p:nvSpPr>
            <p:spPr bwMode="auto">
              <a:xfrm>
                <a:off x="4968876" y="5453062"/>
                <a:ext cx="34925" cy="49213"/>
              </a:xfrm>
              <a:custGeom>
                <a:avLst/>
                <a:gdLst>
                  <a:gd name="T0" fmla="*/ 8 w 9"/>
                  <a:gd name="T1" fmla="*/ 13 h 13"/>
                  <a:gd name="T2" fmla="*/ 1 w 9"/>
                  <a:gd name="T3" fmla="*/ 13 h 13"/>
                  <a:gd name="T4" fmla="*/ 0 w 9"/>
                  <a:gd name="T5" fmla="*/ 12 h 13"/>
                  <a:gd name="T6" fmla="*/ 0 w 9"/>
                  <a:gd name="T7" fmla="*/ 1 h 13"/>
                  <a:gd name="T8" fmla="*/ 1 w 9"/>
                  <a:gd name="T9" fmla="*/ 0 h 13"/>
                  <a:gd name="T10" fmla="*/ 2 w 9"/>
                  <a:gd name="T11" fmla="*/ 1 h 13"/>
                  <a:gd name="T12" fmla="*/ 2 w 9"/>
                  <a:gd name="T13" fmla="*/ 10 h 13"/>
                  <a:gd name="T14" fmla="*/ 8 w 9"/>
                  <a:gd name="T15" fmla="*/ 10 h 13"/>
                  <a:gd name="T16" fmla="*/ 9 w 9"/>
                  <a:gd name="T17" fmla="*/ 12 h 13"/>
                  <a:gd name="T18" fmla="*/ 8 w 9"/>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8" y="13"/>
                    </a:moveTo>
                    <a:cubicBezTo>
                      <a:pt x="1" y="13"/>
                      <a:pt x="1" y="13"/>
                      <a:pt x="1" y="13"/>
                    </a:cubicBezTo>
                    <a:cubicBezTo>
                      <a:pt x="0" y="13"/>
                      <a:pt x="0" y="12"/>
                      <a:pt x="0" y="12"/>
                    </a:cubicBezTo>
                    <a:cubicBezTo>
                      <a:pt x="0" y="1"/>
                      <a:pt x="0" y="1"/>
                      <a:pt x="0" y="1"/>
                    </a:cubicBezTo>
                    <a:cubicBezTo>
                      <a:pt x="0" y="0"/>
                      <a:pt x="0" y="0"/>
                      <a:pt x="1" y="0"/>
                    </a:cubicBezTo>
                    <a:cubicBezTo>
                      <a:pt x="2" y="0"/>
                      <a:pt x="2" y="0"/>
                      <a:pt x="2" y="1"/>
                    </a:cubicBezTo>
                    <a:cubicBezTo>
                      <a:pt x="2" y="10"/>
                      <a:pt x="2" y="10"/>
                      <a:pt x="2" y="10"/>
                    </a:cubicBezTo>
                    <a:cubicBezTo>
                      <a:pt x="8" y="10"/>
                      <a:pt x="8" y="10"/>
                      <a:pt x="8" y="10"/>
                    </a:cubicBezTo>
                    <a:cubicBezTo>
                      <a:pt x="9" y="10"/>
                      <a:pt x="9" y="11"/>
                      <a:pt x="9" y="12"/>
                    </a:cubicBezTo>
                    <a:cubicBezTo>
                      <a:pt x="9" y="12"/>
                      <a:pt x="9" y="13"/>
                      <a:pt x="8" y="13"/>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8">
                <a:extLst>
                  <a:ext uri="{FF2B5EF4-FFF2-40B4-BE49-F238E27FC236}">
                    <a16:creationId xmlns:a16="http://schemas.microsoft.com/office/drawing/2014/main" xmlns="" id="{09726185-FDA2-4233-A54C-473955ED8CD5}"/>
                  </a:ext>
                </a:extLst>
              </p:cNvPr>
              <p:cNvSpPr>
                <a:spLocks/>
              </p:cNvSpPr>
              <p:nvPr/>
            </p:nvSpPr>
            <p:spPr bwMode="auto">
              <a:xfrm>
                <a:off x="4902201" y="5573712"/>
                <a:ext cx="11113" cy="3175"/>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0" y="1"/>
                      <a:pt x="0" y="1"/>
                      <a:pt x="0" y="1"/>
                    </a:cubicBezTo>
                    <a:cubicBezTo>
                      <a:pt x="1" y="1"/>
                      <a:pt x="2" y="0"/>
                      <a:pt x="3"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97">
                <a:extLst>
                  <a:ext uri="{FF2B5EF4-FFF2-40B4-BE49-F238E27FC236}">
                    <a16:creationId xmlns:a16="http://schemas.microsoft.com/office/drawing/2014/main" xmlns="" id="{AA75F8C0-5F4C-4587-B453-E652940D145D}"/>
                  </a:ext>
                </a:extLst>
              </p:cNvPr>
              <p:cNvSpPr>
                <a:spLocks/>
              </p:cNvSpPr>
              <p:nvPr/>
            </p:nvSpPr>
            <p:spPr bwMode="auto">
              <a:xfrm>
                <a:off x="4878388" y="5381625"/>
                <a:ext cx="425450" cy="258763"/>
              </a:xfrm>
              <a:custGeom>
                <a:avLst/>
                <a:gdLst>
                  <a:gd name="T0" fmla="*/ 113 w 113"/>
                  <a:gd name="T1" fmla="*/ 27 h 69"/>
                  <a:gd name="T2" fmla="*/ 108 w 113"/>
                  <a:gd name="T3" fmla="*/ 20 h 69"/>
                  <a:gd name="T4" fmla="*/ 111 w 113"/>
                  <a:gd name="T5" fmla="*/ 13 h 69"/>
                  <a:gd name="T6" fmla="*/ 105 w 113"/>
                  <a:gd name="T7" fmla="*/ 7 h 69"/>
                  <a:gd name="T8" fmla="*/ 104 w 113"/>
                  <a:gd name="T9" fmla="*/ 7 h 69"/>
                  <a:gd name="T10" fmla="*/ 89 w 113"/>
                  <a:gd name="T11" fmla="*/ 3 h 69"/>
                  <a:gd name="T12" fmla="*/ 50 w 113"/>
                  <a:gd name="T13" fmla="*/ 10 h 69"/>
                  <a:gd name="T14" fmla="*/ 36 w 113"/>
                  <a:gd name="T15" fmla="*/ 10 h 69"/>
                  <a:gd name="T16" fmla="*/ 23 w 113"/>
                  <a:gd name="T17" fmla="*/ 10 h 69"/>
                  <a:gd name="T18" fmla="*/ 6 w 113"/>
                  <a:gd name="T19" fmla="*/ 10 h 69"/>
                  <a:gd name="T20" fmla="*/ 1 w 113"/>
                  <a:gd name="T21" fmla="*/ 22 h 69"/>
                  <a:gd name="T22" fmla="*/ 6 w 113"/>
                  <a:gd name="T23" fmla="*/ 40 h 69"/>
                  <a:gd name="T24" fmla="*/ 6 w 113"/>
                  <a:gd name="T25" fmla="*/ 52 h 69"/>
                  <a:gd name="T26" fmla="*/ 9 w 113"/>
                  <a:gd name="T27" fmla="*/ 51 h 69"/>
                  <a:gd name="T28" fmla="*/ 11 w 113"/>
                  <a:gd name="T29" fmla="*/ 51 h 69"/>
                  <a:gd name="T30" fmla="*/ 23 w 113"/>
                  <a:gd name="T31" fmla="*/ 51 h 69"/>
                  <a:gd name="T32" fmla="*/ 36 w 113"/>
                  <a:gd name="T33" fmla="*/ 51 h 69"/>
                  <a:gd name="T34" fmla="*/ 43 w 113"/>
                  <a:gd name="T35" fmla="*/ 51 h 69"/>
                  <a:gd name="T36" fmla="*/ 80 w 113"/>
                  <a:gd name="T37" fmla="*/ 69 h 69"/>
                  <a:gd name="T38" fmla="*/ 97 w 113"/>
                  <a:gd name="T39" fmla="*/ 63 h 69"/>
                  <a:gd name="T40" fmla="*/ 88 w 113"/>
                  <a:gd name="T41" fmla="*/ 62 h 69"/>
                  <a:gd name="T42" fmla="*/ 107 w 113"/>
                  <a:gd name="T43" fmla="*/ 58 h 69"/>
                  <a:gd name="T44" fmla="*/ 106 w 113"/>
                  <a:gd name="T45" fmla="*/ 49 h 69"/>
                  <a:gd name="T46" fmla="*/ 112 w 113"/>
                  <a:gd name="T47" fmla="*/ 43 h 69"/>
                  <a:gd name="T48" fmla="*/ 109 w 113"/>
                  <a:gd name="T49" fmla="*/ 35 h 69"/>
                  <a:gd name="T50" fmla="*/ 113 w 113"/>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69">
                    <a:moveTo>
                      <a:pt x="113" y="27"/>
                    </a:moveTo>
                    <a:cubicBezTo>
                      <a:pt x="112" y="24"/>
                      <a:pt x="109" y="24"/>
                      <a:pt x="108" y="20"/>
                    </a:cubicBezTo>
                    <a:cubicBezTo>
                      <a:pt x="108" y="17"/>
                      <a:pt x="112" y="17"/>
                      <a:pt x="111" y="13"/>
                    </a:cubicBezTo>
                    <a:cubicBezTo>
                      <a:pt x="110" y="9"/>
                      <a:pt x="105" y="7"/>
                      <a:pt x="105" y="7"/>
                    </a:cubicBezTo>
                    <a:cubicBezTo>
                      <a:pt x="104" y="7"/>
                      <a:pt x="104" y="7"/>
                      <a:pt x="104" y="7"/>
                    </a:cubicBezTo>
                    <a:cubicBezTo>
                      <a:pt x="100" y="5"/>
                      <a:pt x="95" y="3"/>
                      <a:pt x="89" y="3"/>
                    </a:cubicBezTo>
                    <a:cubicBezTo>
                      <a:pt x="71" y="0"/>
                      <a:pt x="57" y="10"/>
                      <a:pt x="50" y="10"/>
                    </a:cubicBezTo>
                    <a:cubicBezTo>
                      <a:pt x="43" y="10"/>
                      <a:pt x="36" y="10"/>
                      <a:pt x="36" y="10"/>
                    </a:cubicBezTo>
                    <a:cubicBezTo>
                      <a:pt x="23" y="10"/>
                      <a:pt x="23" y="10"/>
                      <a:pt x="23" y="10"/>
                    </a:cubicBezTo>
                    <a:cubicBezTo>
                      <a:pt x="6" y="10"/>
                      <a:pt x="6" y="10"/>
                      <a:pt x="6" y="10"/>
                    </a:cubicBezTo>
                    <a:cubicBezTo>
                      <a:pt x="6" y="10"/>
                      <a:pt x="0" y="12"/>
                      <a:pt x="1" y="22"/>
                    </a:cubicBezTo>
                    <a:cubicBezTo>
                      <a:pt x="1" y="28"/>
                      <a:pt x="4" y="34"/>
                      <a:pt x="6" y="40"/>
                    </a:cubicBezTo>
                    <a:cubicBezTo>
                      <a:pt x="8" y="44"/>
                      <a:pt x="8" y="48"/>
                      <a:pt x="6" y="52"/>
                    </a:cubicBezTo>
                    <a:cubicBezTo>
                      <a:pt x="9" y="51"/>
                      <a:pt x="9" y="51"/>
                      <a:pt x="9" y="51"/>
                    </a:cubicBezTo>
                    <a:cubicBezTo>
                      <a:pt x="10" y="51"/>
                      <a:pt x="11" y="51"/>
                      <a:pt x="11" y="51"/>
                    </a:cubicBezTo>
                    <a:cubicBezTo>
                      <a:pt x="11" y="51"/>
                      <a:pt x="16" y="51"/>
                      <a:pt x="23" y="51"/>
                    </a:cubicBezTo>
                    <a:cubicBezTo>
                      <a:pt x="36" y="51"/>
                      <a:pt x="36" y="51"/>
                      <a:pt x="36" y="51"/>
                    </a:cubicBezTo>
                    <a:cubicBezTo>
                      <a:pt x="39" y="51"/>
                      <a:pt x="42" y="51"/>
                      <a:pt x="43" y="51"/>
                    </a:cubicBezTo>
                    <a:cubicBezTo>
                      <a:pt x="52" y="52"/>
                      <a:pt x="65" y="69"/>
                      <a:pt x="80" y="69"/>
                    </a:cubicBezTo>
                    <a:cubicBezTo>
                      <a:pt x="96" y="69"/>
                      <a:pt x="97" y="63"/>
                      <a:pt x="97" y="63"/>
                    </a:cubicBezTo>
                    <a:cubicBezTo>
                      <a:pt x="88" y="62"/>
                      <a:pt x="88" y="62"/>
                      <a:pt x="88" y="62"/>
                    </a:cubicBezTo>
                    <a:cubicBezTo>
                      <a:pt x="94" y="61"/>
                      <a:pt x="105" y="63"/>
                      <a:pt x="107" y="58"/>
                    </a:cubicBezTo>
                    <a:cubicBezTo>
                      <a:pt x="109" y="55"/>
                      <a:pt x="105" y="52"/>
                      <a:pt x="106" y="49"/>
                    </a:cubicBezTo>
                    <a:cubicBezTo>
                      <a:pt x="107" y="46"/>
                      <a:pt x="111" y="46"/>
                      <a:pt x="112" y="43"/>
                    </a:cubicBezTo>
                    <a:cubicBezTo>
                      <a:pt x="112" y="39"/>
                      <a:pt x="109" y="38"/>
                      <a:pt x="109" y="35"/>
                    </a:cubicBezTo>
                    <a:cubicBezTo>
                      <a:pt x="109" y="31"/>
                      <a:pt x="113" y="31"/>
                      <a:pt x="113"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98">
                <a:extLst>
                  <a:ext uri="{FF2B5EF4-FFF2-40B4-BE49-F238E27FC236}">
                    <a16:creationId xmlns:a16="http://schemas.microsoft.com/office/drawing/2014/main" xmlns="" id="{0A85A427-5542-43C8-A5B3-A9F4B06B2979}"/>
                  </a:ext>
                </a:extLst>
              </p:cNvPr>
              <p:cNvSpPr>
                <a:spLocks/>
              </p:cNvSpPr>
              <p:nvPr/>
            </p:nvSpPr>
            <p:spPr bwMode="auto">
              <a:xfrm>
                <a:off x="4943476" y="5411787"/>
                <a:ext cx="60325" cy="169863"/>
              </a:xfrm>
              <a:custGeom>
                <a:avLst/>
                <a:gdLst>
                  <a:gd name="T0" fmla="*/ 13 w 16"/>
                  <a:gd name="T1" fmla="*/ 45 h 45"/>
                  <a:gd name="T2" fmla="*/ 3 w 16"/>
                  <a:gd name="T3" fmla="*/ 45 h 45"/>
                  <a:gd name="T4" fmla="*/ 0 w 16"/>
                  <a:gd name="T5" fmla="*/ 42 h 45"/>
                  <a:gd name="T6" fmla="*/ 0 w 16"/>
                  <a:gd name="T7" fmla="*/ 3 h 45"/>
                  <a:gd name="T8" fmla="*/ 3 w 16"/>
                  <a:gd name="T9" fmla="*/ 0 h 45"/>
                  <a:gd name="T10" fmla="*/ 13 w 16"/>
                  <a:gd name="T11" fmla="*/ 0 h 45"/>
                  <a:gd name="T12" fmla="*/ 16 w 16"/>
                  <a:gd name="T13" fmla="*/ 3 h 45"/>
                  <a:gd name="T14" fmla="*/ 16 w 16"/>
                  <a:gd name="T15" fmla="*/ 42 h 45"/>
                  <a:gd name="T16" fmla="*/ 13 w 16"/>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5">
                    <a:moveTo>
                      <a:pt x="13" y="45"/>
                    </a:moveTo>
                    <a:cubicBezTo>
                      <a:pt x="3" y="45"/>
                      <a:pt x="3" y="45"/>
                      <a:pt x="3" y="45"/>
                    </a:cubicBezTo>
                    <a:cubicBezTo>
                      <a:pt x="2" y="45"/>
                      <a:pt x="0" y="44"/>
                      <a:pt x="0" y="42"/>
                    </a:cubicBezTo>
                    <a:cubicBezTo>
                      <a:pt x="0" y="3"/>
                      <a:pt x="0" y="3"/>
                      <a:pt x="0" y="3"/>
                    </a:cubicBezTo>
                    <a:cubicBezTo>
                      <a:pt x="0" y="2"/>
                      <a:pt x="2" y="0"/>
                      <a:pt x="3" y="0"/>
                    </a:cubicBezTo>
                    <a:cubicBezTo>
                      <a:pt x="13" y="0"/>
                      <a:pt x="13" y="0"/>
                      <a:pt x="13" y="0"/>
                    </a:cubicBezTo>
                    <a:cubicBezTo>
                      <a:pt x="14" y="0"/>
                      <a:pt x="16" y="2"/>
                      <a:pt x="16" y="3"/>
                    </a:cubicBezTo>
                    <a:cubicBezTo>
                      <a:pt x="16" y="42"/>
                      <a:pt x="16" y="42"/>
                      <a:pt x="16" y="42"/>
                    </a:cubicBezTo>
                    <a:cubicBezTo>
                      <a:pt x="16" y="44"/>
                      <a:pt x="14" y="45"/>
                      <a:pt x="13" y="4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Oval 199">
                <a:extLst>
                  <a:ext uri="{FF2B5EF4-FFF2-40B4-BE49-F238E27FC236}">
                    <a16:creationId xmlns:a16="http://schemas.microsoft.com/office/drawing/2014/main" xmlns="" id="{41BD0B6A-9D2A-4702-95C5-5F981B18B24A}"/>
                  </a:ext>
                </a:extLst>
              </p:cNvPr>
              <p:cNvSpPr>
                <a:spLocks noChangeArrowheads="1"/>
              </p:cNvSpPr>
              <p:nvPr/>
            </p:nvSpPr>
            <p:spPr bwMode="auto">
              <a:xfrm>
                <a:off x="4913313" y="5438775"/>
                <a:ext cx="119063" cy="119063"/>
              </a:xfrm>
              <a:prstGeom prst="ellipse">
                <a:avLst/>
              </a:pr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268">
                <a:extLst>
                  <a:ext uri="{FF2B5EF4-FFF2-40B4-BE49-F238E27FC236}">
                    <a16:creationId xmlns:a16="http://schemas.microsoft.com/office/drawing/2014/main" xmlns="" id="{3A037051-F85F-4F4B-96A6-8BF6762D5B6C}"/>
                  </a:ext>
                </a:extLst>
              </p:cNvPr>
              <p:cNvSpPr>
                <a:spLocks/>
              </p:cNvSpPr>
              <p:nvPr/>
            </p:nvSpPr>
            <p:spPr bwMode="auto">
              <a:xfrm>
                <a:off x="4962525" y="5310188"/>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281">
                <a:extLst>
                  <a:ext uri="{FF2B5EF4-FFF2-40B4-BE49-F238E27FC236}">
                    <a16:creationId xmlns:a16="http://schemas.microsoft.com/office/drawing/2014/main" xmlns="" id="{54D4ADA4-5833-4D58-956A-673D67F1F543}"/>
                  </a:ext>
                </a:extLst>
              </p:cNvPr>
              <p:cNvSpPr>
                <a:spLocks/>
              </p:cNvSpPr>
              <p:nvPr/>
            </p:nvSpPr>
            <p:spPr bwMode="auto">
              <a:xfrm>
                <a:off x="5119688" y="5651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282">
                <a:extLst>
                  <a:ext uri="{FF2B5EF4-FFF2-40B4-BE49-F238E27FC236}">
                    <a16:creationId xmlns:a16="http://schemas.microsoft.com/office/drawing/2014/main" xmlns="" id="{316D526C-83E4-4687-A6FA-18E3BD83FBCA}"/>
                  </a:ext>
                </a:extLst>
              </p:cNvPr>
              <p:cNvSpPr>
                <a:spLocks/>
              </p:cNvSpPr>
              <p:nvPr/>
            </p:nvSpPr>
            <p:spPr bwMode="auto">
              <a:xfrm>
                <a:off x="4913313" y="5573713"/>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01" name="Groupe 500">
            <a:extLst>
              <a:ext uri="{FF2B5EF4-FFF2-40B4-BE49-F238E27FC236}">
                <a16:creationId xmlns:a16="http://schemas.microsoft.com/office/drawing/2014/main" xmlns="" id="{9729F206-0C3B-4367-AD74-82FA806523D5}"/>
              </a:ext>
            </a:extLst>
          </p:cNvPr>
          <p:cNvGrpSpPr>
            <a:grpSpLocks noChangeAspect="1"/>
          </p:cNvGrpSpPr>
          <p:nvPr/>
        </p:nvGrpSpPr>
        <p:grpSpPr>
          <a:xfrm>
            <a:off x="7911885" y="5264677"/>
            <a:ext cx="769028" cy="720000"/>
            <a:chOff x="9953626" y="3540125"/>
            <a:chExt cx="871538" cy="815975"/>
          </a:xfrm>
        </p:grpSpPr>
        <p:sp>
          <p:nvSpPr>
            <p:cNvPr id="502" name="Freeform 33">
              <a:extLst>
                <a:ext uri="{FF2B5EF4-FFF2-40B4-BE49-F238E27FC236}">
                  <a16:creationId xmlns:a16="http://schemas.microsoft.com/office/drawing/2014/main" xmlns="" id="{EB0C870B-BE40-459B-B15D-D4D80C3BF049}"/>
                </a:ext>
              </a:extLst>
            </p:cNvPr>
            <p:cNvSpPr>
              <a:spLocks/>
            </p:cNvSpPr>
            <p:nvPr/>
          </p:nvSpPr>
          <p:spPr bwMode="auto">
            <a:xfrm>
              <a:off x="9953626" y="3540125"/>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71">
              <a:extLst>
                <a:ext uri="{FF2B5EF4-FFF2-40B4-BE49-F238E27FC236}">
                  <a16:creationId xmlns:a16="http://schemas.microsoft.com/office/drawing/2014/main" xmlns="" id="{59CCAE87-5288-4DE9-8B26-8FBBC22011EA}"/>
                </a:ext>
              </a:extLst>
            </p:cNvPr>
            <p:cNvSpPr>
              <a:spLocks noEditPoints="1"/>
            </p:cNvSpPr>
            <p:nvPr/>
          </p:nvSpPr>
          <p:spPr bwMode="auto">
            <a:xfrm>
              <a:off x="10148888" y="3814762"/>
              <a:ext cx="477838" cy="258763"/>
            </a:xfrm>
            <a:custGeom>
              <a:avLst/>
              <a:gdLst>
                <a:gd name="T0" fmla="*/ 85 w 127"/>
                <a:gd name="T1" fmla="*/ 25 h 69"/>
                <a:gd name="T2" fmla="*/ 79 w 127"/>
                <a:gd name="T3" fmla="*/ 5 h 69"/>
                <a:gd name="T4" fmla="*/ 81 w 127"/>
                <a:gd name="T5" fmla="*/ 61 h 69"/>
                <a:gd name="T6" fmla="*/ 65 w 127"/>
                <a:gd name="T7" fmla="*/ 51 h 69"/>
                <a:gd name="T8" fmla="*/ 53 w 127"/>
                <a:gd name="T9" fmla="*/ 65 h 69"/>
                <a:gd name="T10" fmla="*/ 49 w 127"/>
                <a:gd name="T11" fmla="*/ 5 h 69"/>
                <a:gd name="T12" fmla="*/ 44 w 127"/>
                <a:gd name="T13" fmla="*/ 23 h 69"/>
                <a:gd name="T14" fmla="*/ 36 w 127"/>
                <a:gd name="T15" fmla="*/ 65 h 69"/>
                <a:gd name="T16" fmla="*/ 30 w 127"/>
                <a:gd name="T17" fmla="*/ 6 h 69"/>
                <a:gd name="T18" fmla="*/ 25 w 127"/>
                <a:gd name="T19" fmla="*/ 21 h 69"/>
                <a:gd name="T20" fmla="*/ 24 w 127"/>
                <a:gd name="T21" fmla="*/ 68 h 69"/>
                <a:gd name="T22" fmla="*/ 19 w 127"/>
                <a:gd name="T23" fmla="*/ 11 h 69"/>
                <a:gd name="T24" fmla="*/ 7 w 127"/>
                <a:gd name="T25" fmla="*/ 65 h 69"/>
                <a:gd name="T26" fmla="*/ 0 w 127"/>
                <a:gd name="T27" fmla="*/ 34 h 69"/>
                <a:gd name="T28" fmla="*/ 26 w 127"/>
                <a:gd name="T29" fmla="*/ 3 h 69"/>
                <a:gd name="T30" fmla="*/ 44 w 127"/>
                <a:gd name="T31" fmla="*/ 4 h 69"/>
                <a:gd name="T32" fmla="*/ 61 w 127"/>
                <a:gd name="T33" fmla="*/ 3 h 69"/>
                <a:gd name="T34" fmla="*/ 78 w 127"/>
                <a:gd name="T35" fmla="*/ 3 h 69"/>
                <a:gd name="T36" fmla="*/ 96 w 127"/>
                <a:gd name="T37" fmla="*/ 4 h 69"/>
                <a:gd name="T38" fmla="*/ 113 w 127"/>
                <a:gd name="T39" fmla="*/ 3 h 69"/>
                <a:gd name="T40" fmla="*/ 124 w 127"/>
                <a:gd name="T41" fmla="*/ 12 h 69"/>
                <a:gd name="T42" fmla="*/ 113 w 127"/>
                <a:gd name="T43" fmla="*/ 23 h 69"/>
                <a:gd name="T44" fmla="*/ 104 w 127"/>
                <a:gd name="T45" fmla="*/ 65 h 69"/>
                <a:gd name="T46" fmla="*/ 101 w 127"/>
                <a:gd name="T47" fmla="*/ 5 h 69"/>
                <a:gd name="T48" fmla="*/ 95 w 127"/>
                <a:gd name="T49" fmla="*/ 23 h 69"/>
                <a:gd name="T50" fmla="*/ 92 w 127"/>
                <a:gd name="T51" fmla="*/ 68 h 69"/>
                <a:gd name="T52" fmla="*/ 90 w 127"/>
                <a:gd name="T53" fmla="*/ 64 h 69"/>
                <a:gd name="T54" fmla="*/ 93 w 127"/>
                <a:gd name="T55" fmla="*/ 24 h 69"/>
                <a:gd name="T56" fmla="*/ 36 w 127"/>
                <a:gd name="T57" fmla="*/ 26 h 69"/>
                <a:gd name="T58" fmla="*/ 45 w 127"/>
                <a:gd name="T59" fmla="*/ 61 h 69"/>
                <a:gd name="T60" fmla="*/ 107 w 127"/>
                <a:gd name="T61" fmla="*/ 14 h 69"/>
                <a:gd name="T62" fmla="*/ 110 w 127"/>
                <a:gd name="T63" fmla="*/ 66 h 69"/>
                <a:gd name="T64" fmla="*/ 107 w 127"/>
                <a:gd name="T65" fmla="*/ 14 h 69"/>
                <a:gd name="T66" fmla="*/ 55 w 127"/>
                <a:gd name="T67" fmla="*/ 64 h 69"/>
                <a:gd name="T68" fmla="*/ 59 w 127"/>
                <a:gd name="T69" fmla="*/ 24 h 69"/>
                <a:gd name="T70" fmla="*/ 70 w 127"/>
                <a:gd name="T71" fmla="*/ 20 h 69"/>
                <a:gd name="T72" fmla="*/ 79 w 127"/>
                <a:gd name="T73" fmla="*/ 60 h 69"/>
                <a:gd name="T74" fmla="*/ 21 w 127"/>
                <a:gd name="T75" fmla="*/ 14 h 69"/>
                <a:gd name="T76" fmla="*/ 24 w 127"/>
                <a:gd name="T77" fmla="*/ 66 h 69"/>
                <a:gd name="T78" fmla="*/ 23 w 127"/>
                <a:gd name="T79" fmla="*/ 22 h 69"/>
                <a:gd name="T80" fmla="*/ 62 w 127"/>
                <a:gd name="T81" fmla="*/ 23 h 69"/>
                <a:gd name="T82" fmla="*/ 70 w 127"/>
                <a:gd name="T83" fmla="*/ 12 h 69"/>
                <a:gd name="T84" fmla="*/ 57 w 127"/>
                <a:gd name="T85" fmla="*/ 1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69">
                  <a:moveTo>
                    <a:pt x="92" y="68"/>
                  </a:moveTo>
                  <a:cubicBezTo>
                    <a:pt x="91" y="68"/>
                    <a:pt x="89" y="68"/>
                    <a:pt x="88" y="65"/>
                  </a:cubicBezTo>
                  <a:cubicBezTo>
                    <a:pt x="82" y="57"/>
                    <a:pt x="82" y="39"/>
                    <a:pt x="85" y="25"/>
                  </a:cubicBezTo>
                  <a:cubicBezTo>
                    <a:pt x="86" y="21"/>
                    <a:pt x="87" y="17"/>
                    <a:pt x="89" y="14"/>
                  </a:cubicBezTo>
                  <a:cubicBezTo>
                    <a:pt x="87" y="10"/>
                    <a:pt x="84" y="7"/>
                    <a:pt x="82" y="6"/>
                  </a:cubicBezTo>
                  <a:cubicBezTo>
                    <a:pt x="81" y="5"/>
                    <a:pt x="80" y="5"/>
                    <a:pt x="79" y="5"/>
                  </a:cubicBezTo>
                  <a:cubicBezTo>
                    <a:pt x="77" y="6"/>
                    <a:pt x="75" y="9"/>
                    <a:pt x="73" y="12"/>
                  </a:cubicBezTo>
                  <a:cubicBezTo>
                    <a:pt x="76" y="17"/>
                    <a:pt x="77" y="22"/>
                    <a:pt x="78" y="23"/>
                  </a:cubicBezTo>
                  <a:cubicBezTo>
                    <a:pt x="79" y="28"/>
                    <a:pt x="84" y="46"/>
                    <a:pt x="81" y="61"/>
                  </a:cubicBezTo>
                  <a:cubicBezTo>
                    <a:pt x="80" y="65"/>
                    <a:pt x="78" y="68"/>
                    <a:pt x="76" y="68"/>
                  </a:cubicBezTo>
                  <a:cubicBezTo>
                    <a:pt x="75" y="68"/>
                    <a:pt x="72" y="68"/>
                    <a:pt x="70" y="65"/>
                  </a:cubicBezTo>
                  <a:cubicBezTo>
                    <a:pt x="67" y="62"/>
                    <a:pt x="66" y="57"/>
                    <a:pt x="65" y="51"/>
                  </a:cubicBezTo>
                  <a:cubicBezTo>
                    <a:pt x="65" y="55"/>
                    <a:pt x="65" y="58"/>
                    <a:pt x="64" y="61"/>
                  </a:cubicBezTo>
                  <a:cubicBezTo>
                    <a:pt x="63" y="65"/>
                    <a:pt x="61" y="68"/>
                    <a:pt x="59" y="68"/>
                  </a:cubicBezTo>
                  <a:cubicBezTo>
                    <a:pt x="57" y="69"/>
                    <a:pt x="55" y="68"/>
                    <a:pt x="53" y="65"/>
                  </a:cubicBezTo>
                  <a:cubicBezTo>
                    <a:pt x="47" y="56"/>
                    <a:pt x="47" y="33"/>
                    <a:pt x="51" y="19"/>
                  </a:cubicBezTo>
                  <a:cubicBezTo>
                    <a:pt x="52" y="16"/>
                    <a:pt x="53" y="13"/>
                    <a:pt x="54" y="11"/>
                  </a:cubicBezTo>
                  <a:cubicBezTo>
                    <a:pt x="53" y="8"/>
                    <a:pt x="51" y="6"/>
                    <a:pt x="49" y="5"/>
                  </a:cubicBezTo>
                  <a:cubicBezTo>
                    <a:pt x="48" y="5"/>
                    <a:pt x="47" y="5"/>
                    <a:pt x="45" y="6"/>
                  </a:cubicBezTo>
                  <a:cubicBezTo>
                    <a:pt x="43" y="7"/>
                    <a:pt x="41" y="10"/>
                    <a:pt x="40" y="13"/>
                  </a:cubicBezTo>
                  <a:cubicBezTo>
                    <a:pt x="42" y="17"/>
                    <a:pt x="43" y="21"/>
                    <a:pt x="44" y="23"/>
                  </a:cubicBezTo>
                  <a:cubicBezTo>
                    <a:pt x="47" y="33"/>
                    <a:pt x="49" y="49"/>
                    <a:pt x="47" y="61"/>
                  </a:cubicBezTo>
                  <a:cubicBezTo>
                    <a:pt x="47" y="65"/>
                    <a:pt x="44" y="68"/>
                    <a:pt x="42" y="68"/>
                  </a:cubicBezTo>
                  <a:cubicBezTo>
                    <a:pt x="41" y="69"/>
                    <a:pt x="38" y="69"/>
                    <a:pt x="36" y="65"/>
                  </a:cubicBezTo>
                  <a:cubicBezTo>
                    <a:pt x="30" y="57"/>
                    <a:pt x="31" y="39"/>
                    <a:pt x="33" y="25"/>
                  </a:cubicBezTo>
                  <a:cubicBezTo>
                    <a:pt x="34" y="21"/>
                    <a:pt x="36" y="17"/>
                    <a:pt x="37" y="14"/>
                  </a:cubicBezTo>
                  <a:cubicBezTo>
                    <a:pt x="35" y="10"/>
                    <a:pt x="33" y="7"/>
                    <a:pt x="30" y="6"/>
                  </a:cubicBezTo>
                  <a:cubicBezTo>
                    <a:pt x="29" y="5"/>
                    <a:pt x="28" y="5"/>
                    <a:pt x="27" y="5"/>
                  </a:cubicBezTo>
                  <a:cubicBezTo>
                    <a:pt x="25" y="6"/>
                    <a:pt x="24" y="8"/>
                    <a:pt x="22" y="11"/>
                  </a:cubicBezTo>
                  <a:cubicBezTo>
                    <a:pt x="24" y="15"/>
                    <a:pt x="25" y="18"/>
                    <a:pt x="25" y="21"/>
                  </a:cubicBezTo>
                  <a:cubicBezTo>
                    <a:pt x="26" y="23"/>
                    <a:pt x="26" y="23"/>
                    <a:pt x="26" y="23"/>
                  </a:cubicBezTo>
                  <a:cubicBezTo>
                    <a:pt x="29" y="33"/>
                    <a:pt x="32" y="49"/>
                    <a:pt x="29" y="61"/>
                  </a:cubicBezTo>
                  <a:cubicBezTo>
                    <a:pt x="29" y="65"/>
                    <a:pt x="27" y="68"/>
                    <a:pt x="24" y="68"/>
                  </a:cubicBezTo>
                  <a:cubicBezTo>
                    <a:pt x="23" y="68"/>
                    <a:pt x="21" y="68"/>
                    <a:pt x="18" y="65"/>
                  </a:cubicBezTo>
                  <a:cubicBezTo>
                    <a:pt x="12" y="56"/>
                    <a:pt x="12" y="34"/>
                    <a:pt x="16" y="19"/>
                  </a:cubicBezTo>
                  <a:cubicBezTo>
                    <a:pt x="17" y="17"/>
                    <a:pt x="18" y="14"/>
                    <a:pt x="19" y="11"/>
                  </a:cubicBezTo>
                  <a:cubicBezTo>
                    <a:pt x="17" y="8"/>
                    <a:pt x="15" y="5"/>
                    <a:pt x="12" y="6"/>
                  </a:cubicBezTo>
                  <a:cubicBezTo>
                    <a:pt x="7" y="7"/>
                    <a:pt x="3" y="19"/>
                    <a:pt x="2" y="34"/>
                  </a:cubicBezTo>
                  <a:cubicBezTo>
                    <a:pt x="3" y="46"/>
                    <a:pt x="5" y="59"/>
                    <a:pt x="7" y="65"/>
                  </a:cubicBezTo>
                  <a:cubicBezTo>
                    <a:pt x="8" y="65"/>
                    <a:pt x="7" y="66"/>
                    <a:pt x="7" y="66"/>
                  </a:cubicBezTo>
                  <a:cubicBezTo>
                    <a:pt x="6" y="67"/>
                    <a:pt x="5" y="67"/>
                    <a:pt x="5" y="66"/>
                  </a:cubicBezTo>
                  <a:cubicBezTo>
                    <a:pt x="2" y="60"/>
                    <a:pt x="0" y="47"/>
                    <a:pt x="0" y="34"/>
                  </a:cubicBezTo>
                  <a:cubicBezTo>
                    <a:pt x="1" y="21"/>
                    <a:pt x="4" y="6"/>
                    <a:pt x="12" y="3"/>
                  </a:cubicBezTo>
                  <a:cubicBezTo>
                    <a:pt x="15" y="2"/>
                    <a:pt x="18" y="5"/>
                    <a:pt x="21" y="9"/>
                  </a:cubicBezTo>
                  <a:cubicBezTo>
                    <a:pt x="22" y="6"/>
                    <a:pt x="24" y="4"/>
                    <a:pt x="26" y="3"/>
                  </a:cubicBezTo>
                  <a:cubicBezTo>
                    <a:pt x="28" y="2"/>
                    <a:pt x="30" y="3"/>
                    <a:pt x="31" y="3"/>
                  </a:cubicBezTo>
                  <a:cubicBezTo>
                    <a:pt x="34" y="5"/>
                    <a:pt x="36" y="7"/>
                    <a:pt x="38" y="11"/>
                  </a:cubicBezTo>
                  <a:cubicBezTo>
                    <a:pt x="40" y="7"/>
                    <a:pt x="42" y="5"/>
                    <a:pt x="44" y="4"/>
                  </a:cubicBezTo>
                  <a:cubicBezTo>
                    <a:pt x="46" y="2"/>
                    <a:pt x="48" y="2"/>
                    <a:pt x="50" y="3"/>
                  </a:cubicBezTo>
                  <a:cubicBezTo>
                    <a:pt x="52" y="4"/>
                    <a:pt x="54" y="6"/>
                    <a:pt x="56" y="8"/>
                  </a:cubicBezTo>
                  <a:cubicBezTo>
                    <a:pt x="57" y="6"/>
                    <a:pt x="59" y="4"/>
                    <a:pt x="61" y="3"/>
                  </a:cubicBezTo>
                  <a:cubicBezTo>
                    <a:pt x="63" y="3"/>
                    <a:pt x="64" y="3"/>
                    <a:pt x="66" y="3"/>
                  </a:cubicBezTo>
                  <a:cubicBezTo>
                    <a:pt x="68" y="4"/>
                    <a:pt x="70" y="7"/>
                    <a:pt x="72" y="9"/>
                  </a:cubicBezTo>
                  <a:cubicBezTo>
                    <a:pt x="73" y="7"/>
                    <a:pt x="76" y="4"/>
                    <a:pt x="78" y="3"/>
                  </a:cubicBezTo>
                  <a:cubicBezTo>
                    <a:pt x="80" y="2"/>
                    <a:pt x="81" y="3"/>
                    <a:pt x="83" y="3"/>
                  </a:cubicBezTo>
                  <a:cubicBezTo>
                    <a:pt x="86" y="5"/>
                    <a:pt x="88" y="7"/>
                    <a:pt x="90" y="11"/>
                  </a:cubicBezTo>
                  <a:cubicBezTo>
                    <a:pt x="92" y="7"/>
                    <a:pt x="94" y="5"/>
                    <a:pt x="96" y="4"/>
                  </a:cubicBezTo>
                  <a:cubicBezTo>
                    <a:pt x="98" y="2"/>
                    <a:pt x="100" y="2"/>
                    <a:pt x="102" y="3"/>
                  </a:cubicBezTo>
                  <a:cubicBezTo>
                    <a:pt x="104" y="4"/>
                    <a:pt x="106" y="6"/>
                    <a:pt x="107" y="8"/>
                  </a:cubicBezTo>
                  <a:cubicBezTo>
                    <a:pt x="109" y="6"/>
                    <a:pt x="111" y="4"/>
                    <a:pt x="113" y="3"/>
                  </a:cubicBezTo>
                  <a:cubicBezTo>
                    <a:pt x="121" y="0"/>
                    <a:pt x="126" y="11"/>
                    <a:pt x="126" y="11"/>
                  </a:cubicBezTo>
                  <a:cubicBezTo>
                    <a:pt x="127" y="12"/>
                    <a:pt x="126" y="13"/>
                    <a:pt x="126" y="13"/>
                  </a:cubicBezTo>
                  <a:cubicBezTo>
                    <a:pt x="125" y="13"/>
                    <a:pt x="124" y="13"/>
                    <a:pt x="124" y="12"/>
                  </a:cubicBezTo>
                  <a:cubicBezTo>
                    <a:pt x="124" y="12"/>
                    <a:pt x="120" y="3"/>
                    <a:pt x="114" y="5"/>
                  </a:cubicBezTo>
                  <a:cubicBezTo>
                    <a:pt x="112" y="6"/>
                    <a:pt x="110" y="8"/>
                    <a:pt x="109" y="11"/>
                  </a:cubicBezTo>
                  <a:cubicBezTo>
                    <a:pt x="111" y="16"/>
                    <a:pt x="113" y="21"/>
                    <a:pt x="113" y="23"/>
                  </a:cubicBezTo>
                  <a:cubicBezTo>
                    <a:pt x="115" y="28"/>
                    <a:pt x="119" y="46"/>
                    <a:pt x="116" y="61"/>
                  </a:cubicBezTo>
                  <a:cubicBezTo>
                    <a:pt x="115" y="65"/>
                    <a:pt x="113" y="68"/>
                    <a:pt x="110" y="68"/>
                  </a:cubicBezTo>
                  <a:cubicBezTo>
                    <a:pt x="109" y="69"/>
                    <a:pt x="107" y="68"/>
                    <a:pt x="104" y="65"/>
                  </a:cubicBezTo>
                  <a:cubicBezTo>
                    <a:pt x="98" y="56"/>
                    <a:pt x="99" y="33"/>
                    <a:pt x="103" y="19"/>
                  </a:cubicBezTo>
                  <a:cubicBezTo>
                    <a:pt x="104" y="16"/>
                    <a:pt x="105" y="13"/>
                    <a:pt x="106" y="11"/>
                  </a:cubicBezTo>
                  <a:cubicBezTo>
                    <a:pt x="104" y="8"/>
                    <a:pt x="102" y="6"/>
                    <a:pt x="101" y="5"/>
                  </a:cubicBezTo>
                  <a:cubicBezTo>
                    <a:pt x="99" y="5"/>
                    <a:pt x="98" y="5"/>
                    <a:pt x="97" y="6"/>
                  </a:cubicBezTo>
                  <a:cubicBezTo>
                    <a:pt x="95" y="7"/>
                    <a:pt x="93" y="10"/>
                    <a:pt x="91" y="13"/>
                  </a:cubicBezTo>
                  <a:cubicBezTo>
                    <a:pt x="93" y="17"/>
                    <a:pt x="95" y="21"/>
                    <a:pt x="95" y="23"/>
                  </a:cubicBezTo>
                  <a:cubicBezTo>
                    <a:pt x="99" y="33"/>
                    <a:pt x="101" y="49"/>
                    <a:pt x="99" y="61"/>
                  </a:cubicBezTo>
                  <a:cubicBezTo>
                    <a:pt x="98" y="65"/>
                    <a:pt x="96" y="68"/>
                    <a:pt x="93" y="68"/>
                  </a:cubicBezTo>
                  <a:cubicBezTo>
                    <a:pt x="93" y="68"/>
                    <a:pt x="93" y="68"/>
                    <a:pt x="92" y="68"/>
                  </a:cubicBezTo>
                  <a:close/>
                  <a:moveTo>
                    <a:pt x="90" y="16"/>
                  </a:moveTo>
                  <a:cubicBezTo>
                    <a:pt x="89" y="19"/>
                    <a:pt x="88" y="22"/>
                    <a:pt x="88" y="26"/>
                  </a:cubicBezTo>
                  <a:cubicBezTo>
                    <a:pt x="84" y="41"/>
                    <a:pt x="85" y="58"/>
                    <a:pt x="90" y="64"/>
                  </a:cubicBezTo>
                  <a:cubicBezTo>
                    <a:pt x="90" y="65"/>
                    <a:pt x="92" y="66"/>
                    <a:pt x="93" y="66"/>
                  </a:cubicBezTo>
                  <a:cubicBezTo>
                    <a:pt x="95" y="66"/>
                    <a:pt x="96" y="63"/>
                    <a:pt x="96" y="61"/>
                  </a:cubicBezTo>
                  <a:cubicBezTo>
                    <a:pt x="98" y="49"/>
                    <a:pt x="96" y="34"/>
                    <a:pt x="93" y="24"/>
                  </a:cubicBezTo>
                  <a:cubicBezTo>
                    <a:pt x="92" y="22"/>
                    <a:pt x="91" y="19"/>
                    <a:pt x="90" y="16"/>
                  </a:cubicBezTo>
                  <a:close/>
                  <a:moveTo>
                    <a:pt x="38" y="16"/>
                  </a:moveTo>
                  <a:cubicBezTo>
                    <a:pt x="37" y="19"/>
                    <a:pt x="37" y="22"/>
                    <a:pt x="36" y="26"/>
                  </a:cubicBezTo>
                  <a:cubicBezTo>
                    <a:pt x="33" y="41"/>
                    <a:pt x="34" y="58"/>
                    <a:pt x="38" y="64"/>
                  </a:cubicBezTo>
                  <a:cubicBezTo>
                    <a:pt x="39" y="65"/>
                    <a:pt x="40" y="66"/>
                    <a:pt x="41" y="66"/>
                  </a:cubicBezTo>
                  <a:cubicBezTo>
                    <a:pt x="43" y="66"/>
                    <a:pt x="44" y="63"/>
                    <a:pt x="45" y="61"/>
                  </a:cubicBezTo>
                  <a:cubicBezTo>
                    <a:pt x="47" y="49"/>
                    <a:pt x="44" y="34"/>
                    <a:pt x="41" y="24"/>
                  </a:cubicBezTo>
                  <a:cubicBezTo>
                    <a:pt x="41" y="22"/>
                    <a:pt x="40" y="19"/>
                    <a:pt x="38" y="16"/>
                  </a:cubicBezTo>
                  <a:close/>
                  <a:moveTo>
                    <a:pt x="107" y="14"/>
                  </a:moveTo>
                  <a:cubicBezTo>
                    <a:pt x="107" y="15"/>
                    <a:pt x="106" y="17"/>
                    <a:pt x="105" y="19"/>
                  </a:cubicBezTo>
                  <a:cubicBezTo>
                    <a:pt x="101" y="33"/>
                    <a:pt x="101" y="56"/>
                    <a:pt x="107" y="64"/>
                  </a:cubicBezTo>
                  <a:cubicBezTo>
                    <a:pt x="107" y="65"/>
                    <a:pt x="108" y="66"/>
                    <a:pt x="110" y="66"/>
                  </a:cubicBezTo>
                  <a:cubicBezTo>
                    <a:pt x="111" y="65"/>
                    <a:pt x="113" y="63"/>
                    <a:pt x="113" y="60"/>
                  </a:cubicBezTo>
                  <a:cubicBezTo>
                    <a:pt x="116" y="46"/>
                    <a:pt x="112" y="29"/>
                    <a:pt x="111" y="24"/>
                  </a:cubicBezTo>
                  <a:cubicBezTo>
                    <a:pt x="110" y="20"/>
                    <a:pt x="109" y="17"/>
                    <a:pt x="107" y="14"/>
                  </a:cubicBezTo>
                  <a:close/>
                  <a:moveTo>
                    <a:pt x="56" y="14"/>
                  </a:moveTo>
                  <a:cubicBezTo>
                    <a:pt x="55" y="15"/>
                    <a:pt x="54" y="17"/>
                    <a:pt x="54" y="19"/>
                  </a:cubicBezTo>
                  <a:cubicBezTo>
                    <a:pt x="49" y="33"/>
                    <a:pt x="49" y="56"/>
                    <a:pt x="55" y="64"/>
                  </a:cubicBezTo>
                  <a:cubicBezTo>
                    <a:pt x="56" y="65"/>
                    <a:pt x="57" y="66"/>
                    <a:pt x="58" y="66"/>
                  </a:cubicBezTo>
                  <a:cubicBezTo>
                    <a:pt x="60" y="65"/>
                    <a:pt x="61" y="63"/>
                    <a:pt x="62" y="60"/>
                  </a:cubicBezTo>
                  <a:cubicBezTo>
                    <a:pt x="65" y="46"/>
                    <a:pt x="61" y="29"/>
                    <a:pt x="59" y="24"/>
                  </a:cubicBezTo>
                  <a:cubicBezTo>
                    <a:pt x="58" y="20"/>
                    <a:pt x="57" y="17"/>
                    <a:pt x="56" y="14"/>
                  </a:cubicBezTo>
                  <a:close/>
                  <a:moveTo>
                    <a:pt x="72" y="15"/>
                  </a:moveTo>
                  <a:cubicBezTo>
                    <a:pt x="71" y="17"/>
                    <a:pt x="71" y="18"/>
                    <a:pt x="70" y="20"/>
                  </a:cubicBezTo>
                  <a:cubicBezTo>
                    <a:pt x="66" y="34"/>
                    <a:pt x="66" y="56"/>
                    <a:pt x="72" y="64"/>
                  </a:cubicBezTo>
                  <a:cubicBezTo>
                    <a:pt x="72" y="65"/>
                    <a:pt x="74" y="66"/>
                    <a:pt x="75" y="66"/>
                  </a:cubicBezTo>
                  <a:cubicBezTo>
                    <a:pt x="77" y="65"/>
                    <a:pt x="78" y="63"/>
                    <a:pt x="79" y="60"/>
                  </a:cubicBezTo>
                  <a:cubicBezTo>
                    <a:pt x="82" y="46"/>
                    <a:pt x="77" y="28"/>
                    <a:pt x="75" y="23"/>
                  </a:cubicBezTo>
                  <a:cubicBezTo>
                    <a:pt x="75" y="21"/>
                    <a:pt x="73" y="18"/>
                    <a:pt x="72" y="15"/>
                  </a:cubicBezTo>
                  <a:close/>
                  <a:moveTo>
                    <a:pt x="21" y="14"/>
                  </a:moveTo>
                  <a:cubicBezTo>
                    <a:pt x="20" y="16"/>
                    <a:pt x="19" y="18"/>
                    <a:pt x="19" y="20"/>
                  </a:cubicBezTo>
                  <a:cubicBezTo>
                    <a:pt x="15" y="34"/>
                    <a:pt x="14" y="56"/>
                    <a:pt x="20" y="64"/>
                  </a:cubicBezTo>
                  <a:cubicBezTo>
                    <a:pt x="21" y="65"/>
                    <a:pt x="22" y="66"/>
                    <a:pt x="24" y="66"/>
                  </a:cubicBezTo>
                  <a:cubicBezTo>
                    <a:pt x="25" y="65"/>
                    <a:pt x="26" y="63"/>
                    <a:pt x="27" y="60"/>
                  </a:cubicBezTo>
                  <a:cubicBezTo>
                    <a:pt x="29" y="49"/>
                    <a:pt x="27" y="34"/>
                    <a:pt x="24" y="23"/>
                  </a:cubicBezTo>
                  <a:cubicBezTo>
                    <a:pt x="23" y="22"/>
                    <a:pt x="23" y="22"/>
                    <a:pt x="23" y="22"/>
                  </a:cubicBezTo>
                  <a:cubicBezTo>
                    <a:pt x="22" y="20"/>
                    <a:pt x="22" y="17"/>
                    <a:pt x="21" y="14"/>
                  </a:cubicBezTo>
                  <a:close/>
                  <a:moveTo>
                    <a:pt x="57" y="11"/>
                  </a:moveTo>
                  <a:cubicBezTo>
                    <a:pt x="59" y="16"/>
                    <a:pt x="61" y="21"/>
                    <a:pt x="62" y="23"/>
                  </a:cubicBezTo>
                  <a:cubicBezTo>
                    <a:pt x="62" y="26"/>
                    <a:pt x="64" y="32"/>
                    <a:pt x="65" y="40"/>
                  </a:cubicBezTo>
                  <a:cubicBezTo>
                    <a:pt x="65" y="33"/>
                    <a:pt x="66" y="26"/>
                    <a:pt x="68" y="19"/>
                  </a:cubicBezTo>
                  <a:cubicBezTo>
                    <a:pt x="69" y="17"/>
                    <a:pt x="69" y="14"/>
                    <a:pt x="70" y="12"/>
                  </a:cubicBezTo>
                  <a:cubicBezTo>
                    <a:pt x="69" y="9"/>
                    <a:pt x="67" y="7"/>
                    <a:pt x="65" y="6"/>
                  </a:cubicBezTo>
                  <a:cubicBezTo>
                    <a:pt x="64" y="5"/>
                    <a:pt x="63" y="5"/>
                    <a:pt x="62" y="5"/>
                  </a:cubicBezTo>
                  <a:cubicBezTo>
                    <a:pt x="60" y="6"/>
                    <a:pt x="59" y="8"/>
                    <a:pt x="5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2" name="Groupe 521">
            <a:extLst>
              <a:ext uri="{FF2B5EF4-FFF2-40B4-BE49-F238E27FC236}">
                <a16:creationId xmlns:a16="http://schemas.microsoft.com/office/drawing/2014/main" xmlns="" id="{E3EC3C49-C44E-4B76-96EF-AC3F090A7C01}"/>
              </a:ext>
            </a:extLst>
          </p:cNvPr>
          <p:cNvGrpSpPr>
            <a:grpSpLocks noChangeAspect="1"/>
          </p:cNvGrpSpPr>
          <p:nvPr/>
        </p:nvGrpSpPr>
        <p:grpSpPr>
          <a:xfrm>
            <a:off x="6018291" y="3935884"/>
            <a:ext cx="769028" cy="720000"/>
            <a:chOff x="2643188" y="5300663"/>
            <a:chExt cx="871538" cy="815975"/>
          </a:xfrm>
        </p:grpSpPr>
        <p:sp>
          <p:nvSpPr>
            <p:cNvPr id="523" name="Freeform 137">
              <a:extLst>
                <a:ext uri="{FF2B5EF4-FFF2-40B4-BE49-F238E27FC236}">
                  <a16:creationId xmlns:a16="http://schemas.microsoft.com/office/drawing/2014/main" xmlns="" id="{48AC63F9-F992-4224-92F2-62FC45C58A87}"/>
                </a:ext>
              </a:extLst>
            </p:cNvPr>
            <p:cNvSpPr>
              <a:spLocks/>
            </p:cNvSpPr>
            <p:nvPr/>
          </p:nvSpPr>
          <p:spPr bwMode="auto">
            <a:xfrm>
              <a:off x="2643188" y="5300663"/>
              <a:ext cx="871538" cy="815975"/>
            </a:xfrm>
            <a:custGeom>
              <a:avLst/>
              <a:gdLst>
                <a:gd name="T0" fmla="*/ 33 w 232"/>
                <a:gd name="T1" fmla="*/ 170 h 217"/>
                <a:gd name="T2" fmla="*/ 55 w 232"/>
                <a:gd name="T3" fmla="*/ 33 h 217"/>
                <a:gd name="T4" fmla="*/ 199 w 232"/>
                <a:gd name="T5" fmla="*/ 53 h 217"/>
                <a:gd name="T6" fmla="*/ 173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9" y="53"/>
                  </a:cubicBezTo>
                  <a:cubicBezTo>
                    <a:pt x="232" y="96"/>
                    <a:pt x="218" y="153"/>
                    <a:pt x="173" y="185"/>
                  </a:cubicBezTo>
                  <a:cubicBezTo>
                    <a:pt x="127" y="217"/>
                    <a:pt x="67" y="213"/>
                    <a:pt x="33" y="170"/>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24" name="Groupe 523">
              <a:extLst>
                <a:ext uri="{FF2B5EF4-FFF2-40B4-BE49-F238E27FC236}">
                  <a16:creationId xmlns:a16="http://schemas.microsoft.com/office/drawing/2014/main" xmlns="" id="{4C242ED6-192B-4185-A60F-7906ECDB68C5}"/>
                </a:ext>
              </a:extLst>
            </p:cNvPr>
            <p:cNvGrpSpPr/>
            <p:nvPr/>
          </p:nvGrpSpPr>
          <p:grpSpPr>
            <a:xfrm>
              <a:off x="2849563" y="5511801"/>
              <a:ext cx="450850" cy="368300"/>
              <a:chOff x="2849563" y="5511801"/>
              <a:chExt cx="450850" cy="368300"/>
            </a:xfrm>
          </p:grpSpPr>
          <p:sp>
            <p:nvSpPr>
              <p:cNvPr id="525" name="Freeform 139">
                <a:extLst>
                  <a:ext uri="{FF2B5EF4-FFF2-40B4-BE49-F238E27FC236}">
                    <a16:creationId xmlns:a16="http://schemas.microsoft.com/office/drawing/2014/main" xmlns="" id="{1F45A176-D88B-48D5-BEC6-C5E4AFB27B38}"/>
                  </a:ext>
                </a:extLst>
              </p:cNvPr>
              <p:cNvSpPr>
                <a:spLocks noEditPoints="1"/>
              </p:cNvSpPr>
              <p:nvPr/>
            </p:nvSpPr>
            <p:spPr bwMode="auto">
              <a:xfrm>
                <a:off x="2984501" y="5665788"/>
                <a:ext cx="120650" cy="112713"/>
              </a:xfrm>
              <a:custGeom>
                <a:avLst/>
                <a:gdLst>
                  <a:gd name="T0" fmla="*/ 26 w 32"/>
                  <a:gd name="T1" fmla="*/ 30 h 30"/>
                  <a:gd name="T2" fmla="*/ 32 w 32"/>
                  <a:gd name="T3" fmla="*/ 25 h 30"/>
                  <a:gd name="T4" fmla="*/ 26 w 32"/>
                  <a:gd name="T5" fmla="*/ 19 h 30"/>
                  <a:gd name="T6" fmla="*/ 0 w 32"/>
                  <a:gd name="T7" fmla="*/ 0 h 30"/>
                  <a:gd name="T8" fmla="*/ 20 w 32"/>
                  <a:gd name="T9" fmla="*/ 25 h 30"/>
                  <a:gd name="T10" fmla="*/ 26 w 32"/>
                  <a:gd name="T11" fmla="*/ 30 h 30"/>
                  <a:gd name="T12" fmla="*/ 26 w 32"/>
                  <a:gd name="T13" fmla="*/ 30 h 30"/>
                  <a:gd name="T14" fmla="*/ 26 w 32"/>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26" y="30"/>
                    </a:moveTo>
                    <a:cubicBezTo>
                      <a:pt x="29" y="30"/>
                      <a:pt x="32" y="28"/>
                      <a:pt x="32" y="25"/>
                    </a:cubicBezTo>
                    <a:cubicBezTo>
                      <a:pt x="32" y="21"/>
                      <a:pt x="29" y="19"/>
                      <a:pt x="26" y="19"/>
                    </a:cubicBezTo>
                    <a:cubicBezTo>
                      <a:pt x="0" y="0"/>
                      <a:pt x="0" y="0"/>
                      <a:pt x="0" y="0"/>
                    </a:cubicBezTo>
                    <a:cubicBezTo>
                      <a:pt x="20" y="25"/>
                      <a:pt x="20" y="25"/>
                      <a:pt x="20" y="25"/>
                    </a:cubicBezTo>
                    <a:cubicBezTo>
                      <a:pt x="21" y="28"/>
                      <a:pt x="23" y="30"/>
                      <a:pt x="26" y="30"/>
                    </a:cubicBezTo>
                    <a:close/>
                    <a:moveTo>
                      <a:pt x="26" y="30"/>
                    </a:moveTo>
                    <a:cubicBezTo>
                      <a:pt x="26" y="30"/>
                      <a:pt x="26" y="30"/>
                      <a:pt x="26" y="3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40">
                <a:extLst>
                  <a:ext uri="{FF2B5EF4-FFF2-40B4-BE49-F238E27FC236}">
                    <a16:creationId xmlns:a16="http://schemas.microsoft.com/office/drawing/2014/main" xmlns="" id="{82BDEDE8-918E-4396-9E9A-5286F25322E8}"/>
                  </a:ext>
                </a:extLst>
              </p:cNvPr>
              <p:cNvSpPr>
                <a:spLocks/>
              </p:cNvSpPr>
              <p:nvPr/>
            </p:nvSpPr>
            <p:spPr bwMode="auto">
              <a:xfrm>
                <a:off x="2849563" y="5511801"/>
                <a:ext cx="450850" cy="368300"/>
              </a:xfrm>
              <a:custGeom>
                <a:avLst/>
                <a:gdLst>
                  <a:gd name="T0" fmla="*/ 108 w 120"/>
                  <a:gd name="T1" fmla="*/ 96 h 98"/>
                  <a:gd name="T2" fmla="*/ 120 w 120"/>
                  <a:gd name="T3" fmla="*/ 60 h 98"/>
                  <a:gd name="T4" fmla="*/ 60 w 120"/>
                  <a:gd name="T5" fmla="*/ 0 h 98"/>
                  <a:gd name="T6" fmla="*/ 0 w 120"/>
                  <a:gd name="T7" fmla="*/ 60 h 98"/>
                  <a:gd name="T8" fmla="*/ 12 w 120"/>
                  <a:gd name="T9" fmla="*/ 96 h 98"/>
                  <a:gd name="T10" fmla="*/ 13 w 120"/>
                  <a:gd name="T11" fmla="*/ 98 h 98"/>
                  <a:gd name="T12" fmla="*/ 27 w 120"/>
                  <a:gd name="T13" fmla="*/ 86 h 98"/>
                  <a:gd name="T14" fmla="*/ 21 w 120"/>
                  <a:gd name="T15" fmla="*/ 80 h 98"/>
                  <a:gd name="T16" fmla="*/ 11 w 120"/>
                  <a:gd name="T17" fmla="*/ 89 h 98"/>
                  <a:gd name="T18" fmla="*/ 3 w 120"/>
                  <a:gd name="T19" fmla="*/ 61 h 98"/>
                  <a:gd name="T20" fmla="*/ 3 w 120"/>
                  <a:gd name="T21" fmla="*/ 59 h 98"/>
                  <a:gd name="T22" fmla="*/ 16 w 120"/>
                  <a:gd name="T23" fmla="*/ 59 h 98"/>
                  <a:gd name="T24" fmla="*/ 16 w 120"/>
                  <a:gd name="T25" fmla="*/ 51 h 98"/>
                  <a:gd name="T26" fmla="*/ 4 w 120"/>
                  <a:gd name="T27" fmla="*/ 51 h 98"/>
                  <a:gd name="T28" fmla="*/ 16 w 120"/>
                  <a:gd name="T29" fmla="*/ 25 h 98"/>
                  <a:gd name="T30" fmla="*/ 25 w 120"/>
                  <a:gd name="T31" fmla="*/ 34 h 98"/>
                  <a:gd name="T32" fmla="*/ 31 w 120"/>
                  <a:gd name="T33" fmla="*/ 28 h 98"/>
                  <a:gd name="T34" fmla="*/ 22 w 120"/>
                  <a:gd name="T35" fmla="*/ 19 h 98"/>
                  <a:gd name="T36" fmla="*/ 55 w 120"/>
                  <a:gd name="T37" fmla="*/ 4 h 98"/>
                  <a:gd name="T38" fmla="*/ 55 w 120"/>
                  <a:gd name="T39" fmla="*/ 19 h 98"/>
                  <a:gd name="T40" fmla="*/ 63 w 120"/>
                  <a:gd name="T41" fmla="*/ 19 h 98"/>
                  <a:gd name="T42" fmla="*/ 63 w 120"/>
                  <a:gd name="T43" fmla="*/ 4 h 98"/>
                  <a:gd name="T44" fmla="*/ 99 w 120"/>
                  <a:gd name="T45" fmla="*/ 20 h 98"/>
                  <a:gd name="T46" fmla="*/ 90 w 120"/>
                  <a:gd name="T47" fmla="*/ 29 h 98"/>
                  <a:gd name="T48" fmla="*/ 96 w 120"/>
                  <a:gd name="T49" fmla="*/ 35 h 98"/>
                  <a:gd name="T50" fmla="*/ 105 w 120"/>
                  <a:gd name="T51" fmla="*/ 26 h 98"/>
                  <a:gd name="T52" fmla="*/ 116 w 120"/>
                  <a:gd name="T53" fmla="*/ 51 h 98"/>
                  <a:gd name="T54" fmla="*/ 104 w 120"/>
                  <a:gd name="T55" fmla="*/ 51 h 98"/>
                  <a:gd name="T56" fmla="*/ 104 w 120"/>
                  <a:gd name="T57" fmla="*/ 59 h 98"/>
                  <a:gd name="T58" fmla="*/ 117 w 120"/>
                  <a:gd name="T59" fmla="*/ 59 h 98"/>
                  <a:gd name="T60" fmla="*/ 117 w 120"/>
                  <a:gd name="T61" fmla="*/ 61 h 98"/>
                  <a:gd name="T62" fmla="*/ 109 w 120"/>
                  <a:gd name="T63" fmla="*/ 89 h 98"/>
                  <a:gd name="T64" fmla="*/ 99 w 120"/>
                  <a:gd name="T65" fmla="*/ 80 h 98"/>
                  <a:gd name="T66" fmla="*/ 94 w 120"/>
                  <a:gd name="T67" fmla="*/ 85 h 98"/>
                  <a:gd name="T68" fmla="*/ 107 w 120"/>
                  <a:gd name="T69" fmla="*/ 98 h 98"/>
                  <a:gd name="T70" fmla="*/ 108 w 120"/>
                  <a:gd name="T71"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98">
                    <a:moveTo>
                      <a:pt x="108" y="96"/>
                    </a:moveTo>
                    <a:cubicBezTo>
                      <a:pt x="116" y="86"/>
                      <a:pt x="120" y="74"/>
                      <a:pt x="120" y="60"/>
                    </a:cubicBezTo>
                    <a:cubicBezTo>
                      <a:pt x="120" y="27"/>
                      <a:pt x="93" y="0"/>
                      <a:pt x="60" y="0"/>
                    </a:cubicBezTo>
                    <a:cubicBezTo>
                      <a:pt x="27" y="0"/>
                      <a:pt x="0" y="27"/>
                      <a:pt x="0" y="60"/>
                    </a:cubicBezTo>
                    <a:cubicBezTo>
                      <a:pt x="0" y="74"/>
                      <a:pt x="4" y="86"/>
                      <a:pt x="12" y="96"/>
                    </a:cubicBezTo>
                    <a:cubicBezTo>
                      <a:pt x="13" y="98"/>
                      <a:pt x="13" y="98"/>
                      <a:pt x="13" y="98"/>
                    </a:cubicBezTo>
                    <a:cubicBezTo>
                      <a:pt x="27" y="86"/>
                      <a:pt x="27" y="86"/>
                      <a:pt x="27" y="86"/>
                    </a:cubicBezTo>
                    <a:cubicBezTo>
                      <a:pt x="21" y="80"/>
                      <a:pt x="21" y="80"/>
                      <a:pt x="21" y="80"/>
                    </a:cubicBezTo>
                    <a:cubicBezTo>
                      <a:pt x="11" y="89"/>
                      <a:pt x="11" y="89"/>
                      <a:pt x="11" y="89"/>
                    </a:cubicBezTo>
                    <a:cubicBezTo>
                      <a:pt x="6" y="81"/>
                      <a:pt x="3" y="71"/>
                      <a:pt x="3" y="61"/>
                    </a:cubicBezTo>
                    <a:cubicBezTo>
                      <a:pt x="3" y="60"/>
                      <a:pt x="3" y="60"/>
                      <a:pt x="3" y="59"/>
                    </a:cubicBezTo>
                    <a:cubicBezTo>
                      <a:pt x="16" y="59"/>
                      <a:pt x="16" y="59"/>
                      <a:pt x="16" y="59"/>
                    </a:cubicBezTo>
                    <a:cubicBezTo>
                      <a:pt x="16" y="51"/>
                      <a:pt x="16" y="51"/>
                      <a:pt x="16" y="51"/>
                    </a:cubicBezTo>
                    <a:cubicBezTo>
                      <a:pt x="4" y="51"/>
                      <a:pt x="4" y="51"/>
                      <a:pt x="4" y="51"/>
                    </a:cubicBezTo>
                    <a:cubicBezTo>
                      <a:pt x="6" y="41"/>
                      <a:pt x="10" y="32"/>
                      <a:pt x="16" y="25"/>
                    </a:cubicBezTo>
                    <a:cubicBezTo>
                      <a:pt x="25" y="34"/>
                      <a:pt x="25" y="34"/>
                      <a:pt x="25" y="34"/>
                    </a:cubicBezTo>
                    <a:cubicBezTo>
                      <a:pt x="31" y="28"/>
                      <a:pt x="31" y="28"/>
                      <a:pt x="31" y="28"/>
                    </a:cubicBezTo>
                    <a:cubicBezTo>
                      <a:pt x="22" y="19"/>
                      <a:pt x="22" y="19"/>
                      <a:pt x="22" y="19"/>
                    </a:cubicBezTo>
                    <a:cubicBezTo>
                      <a:pt x="30" y="11"/>
                      <a:pt x="42" y="5"/>
                      <a:pt x="55" y="4"/>
                    </a:cubicBezTo>
                    <a:cubicBezTo>
                      <a:pt x="55" y="19"/>
                      <a:pt x="55" y="19"/>
                      <a:pt x="55" y="19"/>
                    </a:cubicBezTo>
                    <a:cubicBezTo>
                      <a:pt x="63" y="19"/>
                      <a:pt x="63" y="19"/>
                      <a:pt x="63" y="19"/>
                    </a:cubicBezTo>
                    <a:cubicBezTo>
                      <a:pt x="63" y="4"/>
                      <a:pt x="63" y="4"/>
                      <a:pt x="63" y="4"/>
                    </a:cubicBezTo>
                    <a:cubicBezTo>
                      <a:pt x="77" y="5"/>
                      <a:pt x="90" y="10"/>
                      <a:pt x="99" y="20"/>
                    </a:cubicBezTo>
                    <a:cubicBezTo>
                      <a:pt x="90" y="29"/>
                      <a:pt x="90" y="29"/>
                      <a:pt x="90" y="29"/>
                    </a:cubicBezTo>
                    <a:cubicBezTo>
                      <a:pt x="96" y="35"/>
                      <a:pt x="96" y="35"/>
                      <a:pt x="96" y="35"/>
                    </a:cubicBezTo>
                    <a:cubicBezTo>
                      <a:pt x="105" y="26"/>
                      <a:pt x="105" y="26"/>
                      <a:pt x="105" y="26"/>
                    </a:cubicBezTo>
                    <a:cubicBezTo>
                      <a:pt x="110" y="33"/>
                      <a:pt x="114" y="42"/>
                      <a:pt x="116" y="51"/>
                    </a:cubicBezTo>
                    <a:cubicBezTo>
                      <a:pt x="104" y="51"/>
                      <a:pt x="104" y="51"/>
                      <a:pt x="104" y="51"/>
                    </a:cubicBezTo>
                    <a:cubicBezTo>
                      <a:pt x="104" y="59"/>
                      <a:pt x="104" y="59"/>
                      <a:pt x="104" y="59"/>
                    </a:cubicBezTo>
                    <a:cubicBezTo>
                      <a:pt x="117" y="59"/>
                      <a:pt x="117" y="59"/>
                      <a:pt x="117" y="59"/>
                    </a:cubicBezTo>
                    <a:cubicBezTo>
                      <a:pt x="117" y="60"/>
                      <a:pt x="117" y="60"/>
                      <a:pt x="117" y="61"/>
                    </a:cubicBezTo>
                    <a:cubicBezTo>
                      <a:pt x="117" y="71"/>
                      <a:pt x="114" y="81"/>
                      <a:pt x="109" y="89"/>
                    </a:cubicBezTo>
                    <a:cubicBezTo>
                      <a:pt x="99" y="80"/>
                      <a:pt x="99" y="80"/>
                      <a:pt x="99" y="80"/>
                    </a:cubicBezTo>
                    <a:cubicBezTo>
                      <a:pt x="94" y="85"/>
                      <a:pt x="94" y="85"/>
                      <a:pt x="94" y="85"/>
                    </a:cubicBezTo>
                    <a:cubicBezTo>
                      <a:pt x="107" y="98"/>
                      <a:pt x="107" y="98"/>
                      <a:pt x="107" y="98"/>
                    </a:cubicBezTo>
                    <a:cubicBezTo>
                      <a:pt x="107" y="98"/>
                      <a:pt x="108" y="96"/>
                      <a:pt x="108" y="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7" name="Groupe 536">
            <a:extLst>
              <a:ext uri="{FF2B5EF4-FFF2-40B4-BE49-F238E27FC236}">
                <a16:creationId xmlns:a16="http://schemas.microsoft.com/office/drawing/2014/main" xmlns="" id="{CD1E7902-735E-4BEC-8DF9-31A1A64384F2}"/>
              </a:ext>
            </a:extLst>
          </p:cNvPr>
          <p:cNvGrpSpPr>
            <a:grpSpLocks noChangeAspect="1"/>
          </p:cNvGrpSpPr>
          <p:nvPr/>
        </p:nvGrpSpPr>
        <p:grpSpPr>
          <a:xfrm>
            <a:off x="2309999" y="5264677"/>
            <a:ext cx="728405" cy="720000"/>
            <a:chOff x="522288" y="5300663"/>
            <a:chExt cx="825500" cy="815975"/>
          </a:xfrm>
        </p:grpSpPr>
        <p:sp>
          <p:nvSpPr>
            <p:cNvPr id="538" name="Freeform 130">
              <a:extLst>
                <a:ext uri="{FF2B5EF4-FFF2-40B4-BE49-F238E27FC236}">
                  <a16:creationId xmlns:a16="http://schemas.microsoft.com/office/drawing/2014/main" xmlns="" id="{F6AB789B-2498-47CF-8C4E-C259D034DF9D}"/>
                </a:ext>
              </a:extLst>
            </p:cNvPr>
            <p:cNvSpPr>
              <a:spLocks/>
            </p:cNvSpPr>
            <p:nvPr/>
          </p:nvSpPr>
          <p:spPr bwMode="auto">
            <a:xfrm>
              <a:off x="522288" y="5300663"/>
              <a:ext cx="825500" cy="815975"/>
            </a:xfrm>
            <a:custGeom>
              <a:avLst/>
              <a:gdLst>
                <a:gd name="T0" fmla="*/ 215 w 220"/>
                <a:gd name="T1" fmla="*/ 121 h 217"/>
                <a:gd name="T2" fmla="*/ 214 w 220"/>
                <a:gd name="T3" fmla="*/ 126 h 217"/>
                <a:gd name="T4" fmla="*/ 172 w 220"/>
                <a:gd name="T5" fmla="*/ 185 h 217"/>
                <a:gd name="T6" fmla="*/ 33 w 220"/>
                <a:gd name="T7" fmla="*/ 170 h 217"/>
                <a:gd name="T8" fmla="*/ 55 w 220"/>
                <a:gd name="T9" fmla="*/ 33 h 217"/>
                <a:gd name="T10" fmla="*/ 198 w 220"/>
                <a:gd name="T11" fmla="*/ 53 h 217"/>
                <a:gd name="T12" fmla="*/ 215 w 220"/>
                <a:gd name="T13" fmla="*/ 121 h 217"/>
              </a:gdLst>
              <a:ahLst/>
              <a:cxnLst>
                <a:cxn ang="0">
                  <a:pos x="T0" y="T1"/>
                </a:cxn>
                <a:cxn ang="0">
                  <a:pos x="T2" y="T3"/>
                </a:cxn>
                <a:cxn ang="0">
                  <a:pos x="T4" y="T5"/>
                </a:cxn>
                <a:cxn ang="0">
                  <a:pos x="T6" y="T7"/>
                </a:cxn>
                <a:cxn ang="0">
                  <a:pos x="T8" y="T9"/>
                </a:cxn>
                <a:cxn ang="0">
                  <a:pos x="T10" y="T11"/>
                </a:cxn>
                <a:cxn ang="0">
                  <a:pos x="T12" y="T13"/>
                </a:cxn>
              </a:cxnLst>
              <a:rect l="0" t="0" r="r" b="b"/>
              <a:pathLst>
                <a:path w="220" h="217">
                  <a:moveTo>
                    <a:pt x="215" y="121"/>
                  </a:moveTo>
                  <a:cubicBezTo>
                    <a:pt x="215" y="123"/>
                    <a:pt x="215" y="124"/>
                    <a:pt x="214" y="126"/>
                  </a:cubicBezTo>
                  <a:cubicBezTo>
                    <a:pt x="209" y="148"/>
                    <a:pt x="194" y="169"/>
                    <a:pt x="172" y="185"/>
                  </a:cubicBezTo>
                  <a:cubicBezTo>
                    <a:pt x="127" y="217"/>
                    <a:pt x="66" y="213"/>
                    <a:pt x="33" y="170"/>
                  </a:cubicBezTo>
                  <a:cubicBezTo>
                    <a:pt x="0" y="126"/>
                    <a:pt x="10" y="65"/>
                    <a:pt x="55" y="33"/>
                  </a:cubicBezTo>
                  <a:cubicBezTo>
                    <a:pt x="101" y="0"/>
                    <a:pt x="165" y="9"/>
                    <a:pt x="198" y="53"/>
                  </a:cubicBezTo>
                  <a:cubicBezTo>
                    <a:pt x="215" y="74"/>
                    <a:pt x="220" y="98"/>
                    <a:pt x="215" y="12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39" name="Groupe 538">
              <a:extLst>
                <a:ext uri="{FF2B5EF4-FFF2-40B4-BE49-F238E27FC236}">
                  <a16:creationId xmlns:a16="http://schemas.microsoft.com/office/drawing/2014/main" xmlns="" id="{883D7578-2F84-4923-9418-AECC29FBA184}"/>
                </a:ext>
              </a:extLst>
            </p:cNvPr>
            <p:cNvGrpSpPr/>
            <p:nvPr/>
          </p:nvGrpSpPr>
          <p:grpSpPr>
            <a:xfrm>
              <a:off x="781051" y="5451476"/>
              <a:ext cx="549275" cy="481012"/>
              <a:chOff x="781051" y="5451476"/>
              <a:chExt cx="549275" cy="481012"/>
            </a:xfrm>
          </p:grpSpPr>
          <p:sp>
            <p:nvSpPr>
              <p:cNvPr id="540" name="Freeform 132">
                <a:extLst>
                  <a:ext uri="{FF2B5EF4-FFF2-40B4-BE49-F238E27FC236}">
                    <a16:creationId xmlns:a16="http://schemas.microsoft.com/office/drawing/2014/main" xmlns="" id="{6B0E0797-3072-4C16-9B8D-B410147B8B5C}"/>
                  </a:ext>
                </a:extLst>
              </p:cNvPr>
              <p:cNvSpPr>
                <a:spLocks noEditPoints="1"/>
              </p:cNvSpPr>
              <p:nvPr/>
            </p:nvSpPr>
            <p:spPr bwMode="auto">
              <a:xfrm>
                <a:off x="965201" y="5451476"/>
                <a:ext cx="142875" cy="90488"/>
              </a:xfrm>
              <a:custGeom>
                <a:avLst/>
                <a:gdLst>
                  <a:gd name="T0" fmla="*/ 1 w 38"/>
                  <a:gd name="T1" fmla="*/ 5 h 24"/>
                  <a:gd name="T2" fmla="*/ 34 w 38"/>
                  <a:gd name="T3" fmla="*/ 24 h 24"/>
                  <a:gd name="T4" fmla="*/ 36 w 38"/>
                  <a:gd name="T5" fmla="*/ 23 h 24"/>
                  <a:gd name="T6" fmla="*/ 37 w 38"/>
                  <a:gd name="T7" fmla="*/ 21 h 24"/>
                  <a:gd name="T8" fmla="*/ 36 w 38"/>
                  <a:gd name="T9" fmla="*/ 19 h 24"/>
                  <a:gd name="T10" fmla="*/ 4 w 38"/>
                  <a:gd name="T11" fmla="*/ 0 h 24"/>
                  <a:gd name="T12" fmla="*/ 2 w 38"/>
                  <a:gd name="T13" fmla="*/ 1 h 24"/>
                  <a:gd name="T14" fmla="*/ 1 w 38"/>
                  <a:gd name="T15" fmla="*/ 2 h 24"/>
                  <a:gd name="T16" fmla="*/ 1 w 38"/>
                  <a:gd name="T17" fmla="*/ 5 h 24"/>
                  <a:gd name="T18" fmla="*/ 1 w 38"/>
                  <a:gd name="T19" fmla="*/ 5 h 24"/>
                  <a:gd name="T20" fmla="*/ 1 w 38"/>
                  <a:gd name="T2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4">
                    <a:moveTo>
                      <a:pt x="1" y="5"/>
                    </a:moveTo>
                    <a:cubicBezTo>
                      <a:pt x="34" y="24"/>
                      <a:pt x="34" y="24"/>
                      <a:pt x="34" y="24"/>
                    </a:cubicBezTo>
                    <a:cubicBezTo>
                      <a:pt x="34" y="24"/>
                      <a:pt x="36" y="24"/>
                      <a:pt x="36" y="23"/>
                    </a:cubicBezTo>
                    <a:cubicBezTo>
                      <a:pt x="37" y="21"/>
                      <a:pt x="37" y="21"/>
                      <a:pt x="37" y="21"/>
                    </a:cubicBezTo>
                    <a:cubicBezTo>
                      <a:pt x="38" y="20"/>
                      <a:pt x="37" y="19"/>
                      <a:pt x="36" y="19"/>
                    </a:cubicBezTo>
                    <a:cubicBezTo>
                      <a:pt x="4" y="0"/>
                      <a:pt x="4" y="0"/>
                      <a:pt x="4" y="0"/>
                    </a:cubicBezTo>
                    <a:cubicBezTo>
                      <a:pt x="3" y="0"/>
                      <a:pt x="2" y="0"/>
                      <a:pt x="2" y="1"/>
                    </a:cubicBezTo>
                    <a:cubicBezTo>
                      <a:pt x="1" y="2"/>
                      <a:pt x="1" y="2"/>
                      <a:pt x="1" y="2"/>
                    </a:cubicBezTo>
                    <a:cubicBezTo>
                      <a:pt x="0" y="3"/>
                      <a:pt x="0" y="4"/>
                      <a:pt x="1" y="5"/>
                    </a:cubicBezTo>
                    <a:close/>
                    <a:moveTo>
                      <a:pt x="1" y="5"/>
                    </a:moveTo>
                    <a:cubicBezTo>
                      <a:pt x="1" y="5"/>
                      <a:pt x="1" y="5"/>
                      <a:pt x="1" y="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33">
                <a:extLst>
                  <a:ext uri="{FF2B5EF4-FFF2-40B4-BE49-F238E27FC236}">
                    <a16:creationId xmlns:a16="http://schemas.microsoft.com/office/drawing/2014/main" xmlns="" id="{8735A795-7691-49A8-B155-26619D13BFFD}"/>
                  </a:ext>
                </a:extLst>
              </p:cNvPr>
              <p:cNvSpPr>
                <a:spLocks/>
              </p:cNvSpPr>
              <p:nvPr/>
            </p:nvSpPr>
            <p:spPr bwMode="auto">
              <a:xfrm>
                <a:off x="860426" y="5632451"/>
                <a:ext cx="142875" cy="88900"/>
              </a:xfrm>
              <a:custGeom>
                <a:avLst/>
                <a:gdLst>
                  <a:gd name="T0" fmla="*/ 36 w 38"/>
                  <a:gd name="T1" fmla="*/ 19 h 24"/>
                  <a:gd name="T2" fmla="*/ 4 w 38"/>
                  <a:gd name="T3" fmla="*/ 0 h 24"/>
                  <a:gd name="T4" fmla="*/ 2 w 38"/>
                  <a:gd name="T5" fmla="*/ 1 h 24"/>
                  <a:gd name="T6" fmla="*/ 1 w 38"/>
                  <a:gd name="T7" fmla="*/ 3 h 24"/>
                  <a:gd name="T8" fmla="*/ 1 w 38"/>
                  <a:gd name="T9" fmla="*/ 5 h 24"/>
                  <a:gd name="T10" fmla="*/ 34 w 38"/>
                  <a:gd name="T11" fmla="*/ 24 h 24"/>
                  <a:gd name="T12" fmla="*/ 36 w 38"/>
                  <a:gd name="T13" fmla="*/ 23 h 24"/>
                  <a:gd name="T14" fmla="*/ 37 w 38"/>
                  <a:gd name="T15" fmla="*/ 22 h 24"/>
                  <a:gd name="T16" fmla="*/ 36 w 38"/>
                  <a:gd name="T17"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4">
                    <a:moveTo>
                      <a:pt x="36" y="19"/>
                    </a:moveTo>
                    <a:cubicBezTo>
                      <a:pt x="4" y="0"/>
                      <a:pt x="4" y="0"/>
                      <a:pt x="4" y="0"/>
                    </a:cubicBezTo>
                    <a:cubicBezTo>
                      <a:pt x="3" y="0"/>
                      <a:pt x="2" y="0"/>
                      <a:pt x="2" y="1"/>
                    </a:cubicBezTo>
                    <a:cubicBezTo>
                      <a:pt x="1" y="3"/>
                      <a:pt x="1" y="3"/>
                      <a:pt x="1" y="3"/>
                    </a:cubicBezTo>
                    <a:cubicBezTo>
                      <a:pt x="0" y="4"/>
                      <a:pt x="0" y="5"/>
                      <a:pt x="1" y="5"/>
                    </a:cubicBezTo>
                    <a:cubicBezTo>
                      <a:pt x="34" y="24"/>
                      <a:pt x="34" y="24"/>
                      <a:pt x="34" y="24"/>
                    </a:cubicBezTo>
                    <a:cubicBezTo>
                      <a:pt x="34" y="24"/>
                      <a:pt x="36" y="24"/>
                      <a:pt x="36" y="23"/>
                    </a:cubicBezTo>
                    <a:cubicBezTo>
                      <a:pt x="37" y="22"/>
                      <a:pt x="37" y="22"/>
                      <a:pt x="37" y="22"/>
                    </a:cubicBezTo>
                    <a:cubicBezTo>
                      <a:pt x="38" y="21"/>
                      <a:pt x="37" y="20"/>
                      <a:pt x="36" y="1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34">
                <a:extLst>
                  <a:ext uri="{FF2B5EF4-FFF2-40B4-BE49-F238E27FC236}">
                    <a16:creationId xmlns:a16="http://schemas.microsoft.com/office/drawing/2014/main" xmlns="" id="{0FBB7580-3D10-4967-AC25-7CC1B9BC9BE5}"/>
                  </a:ext>
                </a:extLst>
              </p:cNvPr>
              <p:cNvSpPr>
                <a:spLocks/>
              </p:cNvSpPr>
              <p:nvPr/>
            </p:nvSpPr>
            <p:spPr bwMode="auto">
              <a:xfrm>
                <a:off x="882651" y="5481638"/>
                <a:ext cx="412750" cy="300038"/>
              </a:xfrm>
              <a:custGeom>
                <a:avLst/>
                <a:gdLst>
                  <a:gd name="T0" fmla="*/ 109 w 110"/>
                  <a:gd name="T1" fmla="*/ 68 h 80"/>
                  <a:gd name="T2" fmla="*/ 45 w 110"/>
                  <a:gd name="T3" fmla="*/ 35 h 80"/>
                  <a:gd name="T4" fmla="*/ 53 w 110"/>
                  <a:gd name="T5" fmla="*/ 20 h 80"/>
                  <a:gd name="T6" fmla="*/ 53 w 110"/>
                  <a:gd name="T7" fmla="*/ 17 h 80"/>
                  <a:gd name="T8" fmla="*/ 23 w 110"/>
                  <a:gd name="T9" fmla="*/ 0 h 80"/>
                  <a:gd name="T10" fmla="*/ 21 w 110"/>
                  <a:gd name="T11" fmla="*/ 1 h 80"/>
                  <a:gd name="T12" fmla="*/ 0 w 110"/>
                  <a:gd name="T13" fmla="*/ 36 h 80"/>
                  <a:gd name="T14" fmla="*/ 1 w 110"/>
                  <a:gd name="T15" fmla="*/ 39 h 80"/>
                  <a:gd name="T16" fmla="*/ 30 w 110"/>
                  <a:gd name="T17" fmla="*/ 56 h 80"/>
                  <a:gd name="T18" fmla="*/ 33 w 110"/>
                  <a:gd name="T19" fmla="*/ 55 h 80"/>
                  <a:gd name="T20" fmla="*/ 41 w 110"/>
                  <a:gd name="T21" fmla="*/ 40 h 80"/>
                  <a:gd name="T22" fmla="*/ 103 w 110"/>
                  <a:gd name="T23" fmla="*/ 79 h 80"/>
                  <a:gd name="T24" fmla="*/ 105 w 110"/>
                  <a:gd name="T25" fmla="*/ 79 h 80"/>
                  <a:gd name="T26" fmla="*/ 110 w 110"/>
                  <a:gd name="T27" fmla="*/ 71 h 80"/>
                  <a:gd name="T28" fmla="*/ 109 w 110"/>
                  <a:gd name="T29"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80">
                    <a:moveTo>
                      <a:pt x="109" y="68"/>
                    </a:moveTo>
                    <a:cubicBezTo>
                      <a:pt x="45" y="35"/>
                      <a:pt x="45" y="35"/>
                      <a:pt x="45" y="35"/>
                    </a:cubicBezTo>
                    <a:cubicBezTo>
                      <a:pt x="53" y="20"/>
                      <a:pt x="53" y="20"/>
                      <a:pt x="53" y="20"/>
                    </a:cubicBezTo>
                    <a:cubicBezTo>
                      <a:pt x="54" y="19"/>
                      <a:pt x="53" y="18"/>
                      <a:pt x="53" y="17"/>
                    </a:cubicBezTo>
                    <a:cubicBezTo>
                      <a:pt x="23" y="0"/>
                      <a:pt x="23" y="0"/>
                      <a:pt x="23" y="0"/>
                    </a:cubicBezTo>
                    <a:cubicBezTo>
                      <a:pt x="23" y="0"/>
                      <a:pt x="21" y="0"/>
                      <a:pt x="21" y="1"/>
                    </a:cubicBezTo>
                    <a:cubicBezTo>
                      <a:pt x="0" y="36"/>
                      <a:pt x="0" y="36"/>
                      <a:pt x="0" y="36"/>
                    </a:cubicBezTo>
                    <a:cubicBezTo>
                      <a:pt x="0" y="37"/>
                      <a:pt x="0" y="38"/>
                      <a:pt x="1" y="39"/>
                    </a:cubicBezTo>
                    <a:cubicBezTo>
                      <a:pt x="30" y="56"/>
                      <a:pt x="30" y="56"/>
                      <a:pt x="30" y="56"/>
                    </a:cubicBezTo>
                    <a:cubicBezTo>
                      <a:pt x="31" y="56"/>
                      <a:pt x="32" y="56"/>
                      <a:pt x="33" y="55"/>
                    </a:cubicBezTo>
                    <a:cubicBezTo>
                      <a:pt x="41" y="40"/>
                      <a:pt x="41" y="40"/>
                      <a:pt x="41" y="40"/>
                    </a:cubicBezTo>
                    <a:cubicBezTo>
                      <a:pt x="103" y="79"/>
                      <a:pt x="103" y="79"/>
                      <a:pt x="103" y="79"/>
                    </a:cubicBezTo>
                    <a:cubicBezTo>
                      <a:pt x="104" y="80"/>
                      <a:pt x="105" y="79"/>
                      <a:pt x="105" y="79"/>
                    </a:cubicBezTo>
                    <a:cubicBezTo>
                      <a:pt x="110" y="71"/>
                      <a:pt x="110" y="71"/>
                      <a:pt x="110" y="71"/>
                    </a:cubicBezTo>
                    <a:cubicBezTo>
                      <a:pt x="110" y="70"/>
                      <a:pt x="110" y="69"/>
                      <a:pt x="109" y="6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5">
                <a:extLst>
                  <a:ext uri="{FF2B5EF4-FFF2-40B4-BE49-F238E27FC236}">
                    <a16:creationId xmlns:a16="http://schemas.microsoft.com/office/drawing/2014/main" xmlns="" id="{2B55ABAF-7C23-4562-BE1F-8B134990B643}"/>
                  </a:ext>
                </a:extLst>
              </p:cNvPr>
              <p:cNvSpPr>
                <a:spLocks/>
              </p:cNvSpPr>
              <p:nvPr/>
            </p:nvSpPr>
            <p:spPr bwMode="auto">
              <a:xfrm>
                <a:off x="1284288" y="5745163"/>
                <a:ext cx="46038" cy="58738"/>
              </a:xfrm>
              <a:custGeom>
                <a:avLst/>
                <a:gdLst>
                  <a:gd name="T0" fmla="*/ 12 w 12"/>
                  <a:gd name="T1" fmla="*/ 3 h 16"/>
                  <a:gd name="T2" fmla="*/ 9 w 12"/>
                  <a:gd name="T3" fmla="*/ 1 h 16"/>
                  <a:gd name="T4" fmla="*/ 6 w 12"/>
                  <a:gd name="T5" fmla="*/ 2 h 16"/>
                  <a:gd name="T6" fmla="*/ 1 w 12"/>
                  <a:gd name="T7" fmla="*/ 11 h 16"/>
                  <a:gd name="T8" fmla="*/ 2 w 12"/>
                  <a:gd name="T9" fmla="*/ 14 h 16"/>
                  <a:gd name="T10" fmla="*/ 5 w 12"/>
                  <a:gd name="T11" fmla="*/ 16 h 16"/>
                  <a:gd name="T12" fmla="*/ 7 w 12"/>
                  <a:gd name="T13" fmla="*/ 15 h 16"/>
                  <a:gd name="T14" fmla="*/ 11 w 12"/>
                  <a:gd name="T15" fmla="*/ 8 h 16"/>
                  <a:gd name="T16" fmla="*/ 12 w 12"/>
                  <a:gd name="T17" fmla="*/ 3 h 16"/>
                  <a:gd name="T18" fmla="*/ 12 w 12"/>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6">
                    <a:moveTo>
                      <a:pt x="12" y="3"/>
                    </a:moveTo>
                    <a:cubicBezTo>
                      <a:pt x="9" y="1"/>
                      <a:pt x="9" y="1"/>
                      <a:pt x="9" y="1"/>
                    </a:cubicBezTo>
                    <a:cubicBezTo>
                      <a:pt x="8" y="0"/>
                      <a:pt x="7" y="1"/>
                      <a:pt x="6" y="2"/>
                    </a:cubicBezTo>
                    <a:cubicBezTo>
                      <a:pt x="1" y="11"/>
                      <a:pt x="1" y="11"/>
                      <a:pt x="1" y="11"/>
                    </a:cubicBezTo>
                    <a:cubicBezTo>
                      <a:pt x="0" y="12"/>
                      <a:pt x="1" y="13"/>
                      <a:pt x="2" y="14"/>
                    </a:cubicBezTo>
                    <a:cubicBezTo>
                      <a:pt x="5" y="16"/>
                      <a:pt x="5" y="16"/>
                      <a:pt x="5" y="16"/>
                    </a:cubicBezTo>
                    <a:cubicBezTo>
                      <a:pt x="6" y="16"/>
                      <a:pt x="7" y="16"/>
                      <a:pt x="7" y="15"/>
                    </a:cubicBezTo>
                    <a:cubicBezTo>
                      <a:pt x="11" y="8"/>
                      <a:pt x="11" y="8"/>
                      <a:pt x="11" y="8"/>
                    </a:cubicBezTo>
                    <a:cubicBezTo>
                      <a:pt x="12" y="6"/>
                      <a:pt x="12" y="5"/>
                      <a:pt x="12" y="3"/>
                    </a:cubicBezTo>
                    <a:cubicBezTo>
                      <a:pt x="12" y="3"/>
                      <a:pt x="12" y="3"/>
                      <a:pt x="12" y="3"/>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36">
                <a:extLst>
                  <a:ext uri="{FF2B5EF4-FFF2-40B4-BE49-F238E27FC236}">
                    <a16:creationId xmlns:a16="http://schemas.microsoft.com/office/drawing/2014/main" xmlns="" id="{40A4359E-6C99-4FC7-B495-DA8A2B2994AB}"/>
                  </a:ext>
                </a:extLst>
              </p:cNvPr>
              <p:cNvSpPr>
                <a:spLocks noEditPoints="1"/>
              </p:cNvSpPr>
              <p:nvPr/>
            </p:nvSpPr>
            <p:spPr bwMode="auto">
              <a:xfrm>
                <a:off x="781051" y="5767388"/>
                <a:ext cx="300038" cy="165100"/>
              </a:xfrm>
              <a:custGeom>
                <a:avLst/>
                <a:gdLst>
                  <a:gd name="T0" fmla="*/ 77 w 80"/>
                  <a:gd name="T1" fmla="*/ 8 h 44"/>
                  <a:gd name="T2" fmla="*/ 73 w 80"/>
                  <a:gd name="T3" fmla="*/ 8 h 44"/>
                  <a:gd name="T4" fmla="*/ 74 w 80"/>
                  <a:gd name="T5" fmla="*/ 6 h 44"/>
                  <a:gd name="T6" fmla="*/ 74 w 80"/>
                  <a:gd name="T7" fmla="*/ 3 h 44"/>
                  <a:gd name="T8" fmla="*/ 70 w 80"/>
                  <a:gd name="T9" fmla="*/ 0 h 44"/>
                  <a:gd name="T10" fmla="*/ 9 w 80"/>
                  <a:gd name="T11" fmla="*/ 0 h 44"/>
                  <a:gd name="T12" fmla="*/ 6 w 80"/>
                  <a:gd name="T13" fmla="*/ 3 h 44"/>
                  <a:gd name="T14" fmla="*/ 6 w 80"/>
                  <a:gd name="T15" fmla="*/ 6 h 44"/>
                  <a:gd name="T16" fmla="*/ 7 w 80"/>
                  <a:gd name="T17" fmla="*/ 8 h 44"/>
                  <a:gd name="T18" fmla="*/ 3 w 80"/>
                  <a:gd name="T19" fmla="*/ 8 h 44"/>
                  <a:gd name="T20" fmla="*/ 0 w 80"/>
                  <a:gd name="T21" fmla="*/ 11 h 44"/>
                  <a:gd name="T22" fmla="*/ 0 w 80"/>
                  <a:gd name="T23" fmla="*/ 28 h 44"/>
                  <a:gd name="T24" fmla="*/ 80 w 80"/>
                  <a:gd name="T25" fmla="*/ 27 h 44"/>
                  <a:gd name="T26" fmla="*/ 80 w 80"/>
                  <a:gd name="T27" fmla="*/ 11 h 44"/>
                  <a:gd name="T28" fmla="*/ 77 w 80"/>
                  <a:gd name="T29" fmla="*/ 8 h 44"/>
                  <a:gd name="T30" fmla="*/ 75 w 80"/>
                  <a:gd name="T31" fmla="*/ 19 h 44"/>
                  <a:gd name="T32" fmla="*/ 72 w 80"/>
                  <a:gd name="T33" fmla="*/ 22 h 44"/>
                  <a:gd name="T34" fmla="*/ 8 w 80"/>
                  <a:gd name="T35" fmla="*/ 22 h 44"/>
                  <a:gd name="T36" fmla="*/ 4 w 80"/>
                  <a:gd name="T37" fmla="*/ 19 h 44"/>
                  <a:gd name="T38" fmla="*/ 4 w 80"/>
                  <a:gd name="T39" fmla="*/ 16 h 44"/>
                  <a:gd name="T40" fmla="*/ 8 w 80"/>
                  <a:gd name="T41" fmla="*/ 13 h 44"/>
                  <a:gd name="T42" fmla="*/ 72 w 80"/>
                  <a:gd name="T43" fmla="*/ 13 h 44"/>
                  <a:gd name="T44" fmla="*/ 75 w 80"/>
                  <a:gd name="T45" fmla="*/ 16 h 44"/>
                  <a:gd name="T46" fmla="*/ 75 w 80"/>
                  <a:gd name="T4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44">
                    <a:moveTo>
                      <a:pt x="77" y="8"/>
                    </a:moveTo>
                    <a:cubicBezTo>
                      <a:pt x="73" y="8"/>
                      <a:pt x="73" y="8"/>
                      <a:pt x="73" y="8"/>
                    </a:cubicBezTo>
                    <a:cubicBezTo>
                      <a:pt x="73" y="8"/>
                      <a:pt x="74" y="7"/>
                      <a:pt x="74" y="6"/>
                    </a:cubicBezTo>
                    <a:cubicBezTo>
                      <a:pt x="74" y="3"/>
                      <a:pt x="74" y="3"/>
                      <a:pt x="74" y="3"/>
                    </a:cubicBezTo>
                    <a:cubicBezTo>
                      <a:pt x="74" y="1"/>
                      <a:pt x="72" y="0"/>
                      <a:pt x="70" y="0"/>
                    </a:cubicBezTo>
                    <a:cubicBezTo>
                      <a:pt x="9" y="0"/>
                      <a:pt x="9" y="0"/>
                      <a:pt x="9" y="0"/>
                    </a:cubicBezTo>
                    <a:cubicBezTo>
                      <a:pt x="7" y="0"/>
                      <a:pt x="6" y="1"/>
                      <a:pt x="6" y="3"/>
                    </a:cubicBezTo>
                    <a:cubicBezTo>
                      <a:pt x="6" y="6"/>
                      <a:pt x="6" y="6"/>
                      <a:pt x="6" y="6"/>
                    </a:cubicBezTo>
                    <a:cubicBezTo>
                      <a:pt x="6" y="7"/>
                      <a:pt x="6" y="8"/>
                      <a:pt x="7" y="8"/>
                    </a:cubicBezTo>
                    <a:cubicBezTo>
                      <a:pt x="3" y="8"/>
                      <a:pt x="3" y="8"/>
                      <a:pt x="3" y="8"/>
                    </a:cubicBezTo>
                    <a:cubicBezTo>
                      <a:pt x="1" y="8"/>
                      <a:pt x="0" y="10"/>
                      <a:pt x="0" y="11"/>
                    </a:cubicBezTo>
                    <a:cubicBezTo>
                      <a:pt x="0" y="28"/>
                      <a:pt x="0" y="28"/>
                      <a:pt x="0" y="28"/>
                    </a:cubicBezTo>
                    <a:cubicBezTo>
                      <a:pt x="0" y="28"/>
                      <a:pt x="80" y="44"/>
                      <a:pt x="80" y="27"/>
                    </a:cubicBezTo>
                    <a:cubicBezTo>
                      <a:pt x="80" y="11"/>
                      <a:pt x="80" y="11"/>
                      <a:pt x="80" y="11"/>
                    </a:cubicBezTo>
                    <a:cubicBezTo>
                      <a:pt x="80" y="10"/>
                      <a:pt x="78" y="8"/>
                      <a:pt x="77" y="8"/>
                    </a:cubicBezTo>
                    <a:close/>
                    <a:moveTo>
                      <a:pt x="75" y="19"/>
                    </a:moveTo>
                    <a:cubicBezTo>
                      <a:pt x="75" y="21"/>
                      <a:pt x="74" y="22"/>
                      <a:pt x="72" y="22"/>
                    </a:cubicBezTo>
                    <a:cubicBezTo>
                      <a:pt x="8" y="22"/>
                      <a:pt x="8" y="22"/>
                      <a:pt x="8" y="22"/>
                    </a:cubicBezTo>
                    <a:cubicBezTo>
                      <a:pt x="6" y="22"/>
                      <a:pt x="4" y="21"/>
                      <a:pt x="4" y="19"/>
                    </a:cubicBezTo>
                    <a:cubicBezTo>
                      <a:pt x="4" y="16"/>
                      <a:pt x="4" y="16"/>
                      <a:pt x="4" y="16"/>
                    </a:cubicBezTo>
                    <a:cubicBezTo>
                      <a:pt x="4" y="14"/>
                      <a:pt x="6" y="13"/>
                      <a:pt x="8" y="13"/>
                    </a:cubicBezTo>
                    <a:cubicBezTo>
                      <a:pt x="72" y="13"/>
                      <a:pt x="72" y="13"/>
                      <a:pt x="72" y="13"/>
                    </a:cubicBezTo>
                    <a:cubicBezTo>
                      <a:pt x="74" y="13"/>
                      <a:pt x="75" y="14"/>
                      <a:pt x="75" y="16"/>
                    </a:cubicBezTo>
                    <a:lnTo>
                      <a:pt x="75" y="19"/>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56" name="Groupe 555">
            <a:extLst>
              <a:ext uri="{FF2B5EF4-FFF2-40B4-BE49-F238E27FC236}">
                <a16:creationId xmlns:a16="http://schemas.microsoft.com/office/drawing/2014/main" xmlns="" id="{A84477D4-88FA-4B18-A7D1-0D908C224F30}"/>
              </a:ext>
            </a:extLst>
          </p:cNvPr>
          <p:cNvGrpSpPr>
            <a:grpSpLocks noChangeAspect="1"/>
          </p:cNvGrpSpPr>
          <p:nvPr/>
        </p:nvGrpSpPr>
        <p:grpSpPr>
          <a:xfrm>
            <a:off x="6033795" y="5264677"/>
            <a:ext cx="763089" cy="720000"/>
            <a:chOff x="7142163" y="647701"/>
            <a:chExt cx="871538" cy="822325"/>
          </a:xfrm>
        </p:grpSpPr>
        <p:sp>
          <p:nvSpPr>
            <p:cNvPr id="557" name="Freeform 15">
              <a:extLst>
                <a:ext uri="{FF2B5EF4-FFF2-40B4-BE49-F238E27FC236}">
                  <a16:creationId xmlns:a16="http://schemas.microsoft.com/office/drawing/2014/main" xmlns="" id="{799B4100-FB90-4E10-9379-18253EAAD699}"/>
                </a:ext>
              </a:extLst>
            </p:cNvPr>
            <p:cNvSpPr>
              <a:spLocks/>
            </p:cNvSpPr>
            <p:nvPr/>
          </p:nvSpPr>
          <p:spPr bwMode="auto">
            <a:xfrm>
              <a:off x="7142163" y="647701"/>
              <a:ext cx="871538" cy="822325"/>
            </a:xfrm>
            <a:custGeom>
              <a:avLst/>
              <a:gdLst>
                <a:gd name="T0" fmla="*/ 34 w 232"/>
                <a:gd name="T1" fmla="*/ 170 h 217"/>
                <a:gd name="T2" fmla="*/ 56 w 232"/>
                <a:gd name="T3" fmla="*/ 32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1"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58" name="Groupe 557">
              <a:extLst>
                <a:ext uri="{FF2B5EF4-FFF2-40B4-BE49-F238E27FC236}">
                  <a16:creationId xmlns:a16="http://schemas.microsoft.com/office/drawing/2014/main" xmlns="" id="{030BC89B-A309-4AB3-96DD-D1C659D6BF50}"/>
                </a:ext>
              </a:extLst>
            </p:cNvPr>
            <p:cNvGrpSpPr/>
            <p:nvPr/>
          </p:nvGrpSpPr>
          <p:grpSpPr>
            <a:xfrm>
              <a:off x="7319963" y="871538"/>
              <a:ext cx="509588" cy="374651"/>
              <a:chOff x="7319963" y="871538"/>
              <a:chExt cx="509588" cy="374651"/>
            </a:xfrm>
          </p:grpSpPr>
          <p:sp>
            <p:nvSpPr>
              <p:cNvPr id="559" name="Oval 51">
                <a:extLst>
                  <a:ext uri="{FF2B5EF4-FFF2-40B4-BE49-F238E27FC236}">
                    <a16:creationId xmlns:a16="http://schemas.microsoft.com/office/drawing/2014/main" xmlns="" id="{0AF25FB0-3782-4A7D-B0AD-4059E307F024}"/>
                  </a:ext>
                </a:extLst>
              </p:cNvPr>
              <p:cNvSpPr>
                <a:spLocks noChangeArrowheads="1"/>
              </p:cNvSpPr>
              <p:nvPr/>
            </p:nvSpPr>
            <p:spPr bwMode="auto">
              <a:xfrm>
                <a:off x="7319963" y="1117601"/>
                <a:ext cx="509588" cy="128588"/>
              </a:xfrm>
              <a:prstGeom prst="ellipse">
                <a:avLst/>
              </a:pr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Oval 52">
                <a:extLst>
                  <a:ext uri="{FF2B5EF4-FFF2-40B4-BE49-F238E27FC236}">
                    <a16:creationId xmlns:a16="http://schemas.microsoft.com/office/drawing/2014/main" xmlns="" id="{D7D39B46-A5F5-4C9B-BC4B-43A649F960DF}"/>
                  </a:ext>
                </a:extLst>
              </p:cNvPr>
              <p:cNvSpPr>
                <a:spLocks noChangeArrowheads="1"/>
              </p:cNvSpPr>
              <p:nvPr/>
            </p:nvSpPr>
            <p:spPr bwMode="auto">
              <a:xfrm>
                <a:off x="7367588" y="1125538"/>
                <a:ext cx="420688" cy="101600"/>
              </a:xfrm>
              <a:prstGeom prst="ellipse">
                <a:avLst/>
              </a:pr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Oval 53">
                <a:extLst>
                  <a:ext uri="{FF2B5EF4-FFF2-40B4-BE49-F238E27FC236}">
                    <a16:creationId xmlns:a16="http://schemas.microsoft.com/office/drawing/2014/main" xmlns="" id="{34A43AF8-3570-462E-B320-D24EAC0FFBBB}"/>
                  </a:ext>
                </a:extLst>
              </p:cNvPr>
              <p:cNvSpPr>
                <a:spLocks noChangeArrowheads="1"/>
              </p:cNvSpPr>
              <p:nvPr/>
            </p:nvSpPr>
            <p:spPr bwMode="auto">
              <a:xfrm>
                <a:off x="7427913" y="1139826"/>
                <a:ext cx="304800" cy="5715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54">
                <a:extLst>
                  <a:ext uri="{FF2B5EF4-FFF2-40B4-BE49-F238E27FC236}">
                    <a16:creationId xmlns:a16="http://schemas.microsoft.com/office/drawing/2014/main" xmlns="" id="{60871C56-FAF4-4C26-A7EF-B43213356ABA}"/>
                  </a:ext>
                </a:extLst>
              </p:cNvPr>
              <p:cNvSpPr>
                <a:spLocks/>
              </p:cNvSpPr>
              <p:nvPr/>
            </p:nvSpPr>
            <p:spPr bwMode="auto">
              <a:xfrm>
                <a:off x="7345363" y="871538"/>
                <a:ext cx="244475" cy="295275"/>
              </a:xfrm>
              <a:custGeom>
                <a:avLst/>
                <a:gdLst>
                  <a:gd name="T0" fmla="*/ 9 w 65"/>
                  <a:gd name="T1" fmla="*/ 1 h 78"/>
                  <a:gd name="T2" fmla="*/ 27 w 65"/>
                  <a:gd name="T3" fmla="*/ 10 h 78"/>
                  <a:gd name="T4" fmla="*/ 61 w 65"/>
                  <a:gd name="T5" fmla="*/ 53 h 78"/>
                  <a:gd name="T6" fmla="*/ 65 w 65"/>
                  <a:gd name="T7" fmla="*/ 51 h 78"/>
                  <a:gd name="T8" fmla="*/ 64 w 65"/>
                  <a:gd name="T9" fmla="*/ 78 h 78"/>
                  <a:gd name="T10" fmla="*/ 48 w 65"/>
                  <a:gd name="T11" fmla="*/ 60 h 78"/>
                  <a:gd name="T12" fmla="*/ 52 w 65"/>
                  <a:gd name="T13" fmla="*/ 56 h 78"/>
                  <a:gd name="T14" fmla="*/ 10 w 65"/>
                  <a:gd name="T15" fmla="*/ 8 h 78"/>
                  <a:gd name="T16" fmla="*/ 3 w 65"/>
                  <a:gd name="T17" fmla="*/ 12 h 78"/>
                  <a:gd name="T18" fmla="*/ 3 w 65"/>
                  <a:gd name="T19" fmla="*/ 20 h 78"/>
                  <a:gd name="T20" fmla="*/ 9 w 65"/>
                  <a:gd name="T21"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78">
                    <a:moveTo>
                      <a:pt x="9" y="1"/>
                    </a:moveTo>
                    <a:cubicBezTo>
                      <a:pt x="13" y="0"/>
                      <a:pt x="21" y="4"/>
                      <a:pt x="27" y="10"/>
                    </a:cubicBezTo>
                    <a:cubicBezTo>
                      <a:pt x="39" y="21"/>
                      <a:pt x="61" y="53"/>
                      <a:pt x="61" y="53"/>
                    </a:cubicBezTo>
                    <a:cubicBezTo>
                      <a:pt x="61" y="53"/>
                      <a:pt x="61" y="53"/>
                      <a:pt x="65" y="51"/>
                    </a:cubicBezTo>
                    <a:cubicBezTo>
                      <a:pt x="65" y="51"/>
                      <a:pt x="65" y="51"/>
                      <a:pt x="64" y="78"/>
                    </a:cubicBezTo>
                    <a:cubicBezTo>
                      <a:pt x="64" y="78"/>
                      <a:pt x="64" y="78"/>
                      <a:pt x="48" y="60"/>
                    </a:cubicBezTo>
                    <a:cubicBezTo>
                      <a:pt x="48" y="60"/>
                      <a:pt x="48" y="60"/>
                      <a:pt x="52" y="56"/>
                    </a:cubicBezTo>
                    <a:cubicBezTo>
                      <a:pt x="52" y="56"/>
                      <a:pt x="27" y="15"/>
                      <a:pt x="10" y="8"/>
                    </a:cubicBezTo>
                    <a:cubicBezTo>
                      <a:pt x="7" y="7"/>
                      <a:pt x="4" y="9"/>
                      <a:pt x="3" y="12"/>
                    </a:cubicBezTo>
                    <a:cubicBezTo>
                      <a:pt x="2" y="15"/>
                      <a:pt x="3" y="20"/>
                      <a:pt x="3" y="20"/>
                    </a:cubicBezTo>
                    <a:cubicBezTo>
                      <a:pt x="1" y="14"/>
                      <a:pt x="0" y="3"/>
                      <a:pt x="9"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3" name="Groupe 562">
            <a:extLst>
              <a:ext uri="{FF2B5EF4-FFF2-40B4-BE49-F238E27FC236}">
                <a16:creationId xmlns:a16="http://schemas.microsoft.com/office/drawing/2014/main" xmlns="" id="{02FB19C8-51F3-452C-AE88-531DCF2C5239}"/>
              </a:ext>
            </a:extLst>
          </p:cNvPr>
          <p:cNvGrpSpPr>
            <a:grpSpLocks noChangeAspect="1"/>
          </p:cNvGrpSpPr>
          <p:nvPr/>
        </p:nvGrpSpPr>
        <p:grpSpPr>
          <a:xfrm>
            <a:off x="6977630" y="5264677"/>
            <a:ext cx="763089" cy="720000"/>
            <a:chOff x="9267826" y="647701"/>
            <a:chExt cx="871538" cy="822325"/>
          </a:xfrm>
        </p:grpSpPr>
        <p:sp>
          <p:nvSpPr>
            <p:cNvPr id="564" name="Freeform 23">
              <a:extLst>
                <a:ext uri="{FF2B5EF4-FFF2-40B4-BE49-F238E27FC236}">
                  <a16:creationId xmlns:a16="http://schemas.microsoft.com/office/drawing/2014/main" xmlns="" id="{CDA1C529-855A-4BF9-973C-945D52873EE5}"/>
                </a:ext>
              </a:extLst>
            </p:cNvPr>
            <p:cNvSpPr>
              <a:spLocks/>
            </p:cNvSpPr>
            <p:nvPr/>
          </p:nvSpPr>
          <p:spPr bwMode="auto">
            <a:xfrm>
              <a:off x="9267826" y="647701"/>
              <a:ext cx="871538" cy="822325"/>
            </a:xfrm>
            <a:custGeom>
              <a:avLst/>
              <a:gdLst>
                <a:gd name="T0" fmla="*/ 33 w 232"/>
                <a:gd name="T1" fmla="*/ 170 h 217"/>
                <a:gd name="T2" fmla="*/ 55 w 232"/>
                <a:gd name="T3" fmla="*/ 32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9" y="65"/>
                    <a:pt x="55" y="32"/>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5" name="Groupe 564">
              <a:extLst>
                <a:ext uri="{FF2B5EF4-FFF2-40B4-BE49-F238E27FC236}">
                  <a16:creationId xmlns:a16="http://schemas.microsoft.com/office/drawing/2014/main" xmlns="" id="{FFD29F94-F8E7-4BCE-9FC9-10FF3CB7DF77}"/>
                </a:ext>
              </a:extLst>
            </p:cNvPr>
            <p:cNvGrpSpPr/>
            <p:nvPr/>
          </p:nvGrpSpPr>
          <p:grpSpPr>
            <a:xfrm>
              <a:off x="9458326" y="849313"/>
              <a:ext cx="481012" cy="427038"/>
              <a:chOff x="9458326" y="849313"/>
              <a:chExt cx="481012" cy="427038"/>
            </a:xfrm>
          </p:grpSpPr>
          <p:sp>
            <p:nvSpPr>
              <p:cNvPr id="566" name="Oval 58">
                <a:extLst>
                  <a:ext uri="{FF2B5EF4-FFF2-40B4-BE49-F238E27FC236}">
                    <a16:creationId xmlns:a16="http://schemas.microsoft.com/office/drawing/2014/main" xmlns="" id="{D209C24C-9C23-480A-927E-5628EDE8D675}"/>
                  </a:ext>
                </a:extLst>
              </p:cNvPr>
              <p:cNvSpPr>
                <a:spLocks noChangeArrowheads="1"/>
              </p:cNvSpPr>
              <p:nvPr/>
            </p:nvSpPr>
            <p:spPr bwMode="auto">
              <a:xfrm>
                <a:off x="9548813" y="909638"/>
                <a:ext cx="300038" cy="306388"/>
              </a:xfrm>
              <a:prstGeom prst="ellipse">
                <a:avLst/>
              </a:prstGeom>
              <a:solidFill>
                <a:srgbClr val="80B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59">
                <a:extLst>
                  <a:ext uri="{FF2B5EF4-FFF2-40B4-BE49-F238E27FC236}">
                    <a16:creationId xmlns:a16="http://schemas.microsoft.com/office/drawing/2014/main" xmlns="" id="{598D9BC4-012A-4A1D-8340-E5BCB8567F5E}"/>
                  </a:ext>
                </a:extLst>
              </p:cNvPr>
              <p:cNvSpPr>
                <a:spLocks/>
              </p:cNvSpPr>
              <p:nvPr/>
            </p:nvSpPr>
            <p:spPr bwMode="auto">
              <a:xfrm>
                <a:off x="9578976" y="879476"/>
                <a:ext cx="239713" cy="366713"/>
              </a:xfrm>
              <a:custGeom>
                <a:avLst/>
                <a:gdLst>
                  <a:gd name="T0" fmla="*/ 151 w 151"/>
                  <a:gd name="T1" fmla="*/ 226 h 231"/>
                  <a:gd name="T2" fmla="*/ 142 w 151"/>
                  <a:gd name="T3" fmla="*/ 231 h 231"/>
                  <a:gd name="T4" fmla="*/ 0 w 151"/>
                  <a:gd name="T5" fmla="*/ 5 h 231"/>
                  <a:gd name="T6" fmla="*/ 10 w 151"/>
                  <a:gd name="T7" fmla="*/ 0 h 231"/>
                  <a:gd name="T8" fmla="*/ 151 w 151"/>
                  <a:gd name="T9" fmla="*/ 226 h 231"/>
                </a:gdLst>
                <a:ahLst/>
                <a:cxnLst>
                  <a:cxn ang="0">
                    <a:pos x="T0" y="T1"/>
                  </a:cxn>
                  <a:cxn ang="0">
                    <a:pos x="T2" y="T3"/>
                  </a:cxn>
                  <a:cxn ang="0">
                    <a:pos x="T4" y="T5"/>
                  </a:cxn>
                  <a:cxn ang="0">
                    <a:pos x="T6" y="T7"/>
                  </a:cxn>
                  <a:cxn ang="0">
                    <a:pos x="T8" y="T9"/>
                  </a:cxn>
                </a:cxnLst>
                <a:rect l="0" t="0" r="r" b="b"/>
                <a:pathLst>
                  <a:path w="151" h="231">
                    <a:moveTo>
                      <a:pt x="151" y="226"/>
                    </a:moveTo>
                    <a:lnTo>
                      <a:pt x="142" y="231"/>
                    </a:lnTo>
                    <a:lnTo>
                      <a:pt x="0" y="5"/>
                    </a:lnTo>
                    <a:lnTo>
                      <a:pt x="10" y="0"/>
                    </a:lnTo>
                    <a:lnTo>
                      <a:pt x="151" y="226"/>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60">
                <a:extLst>
                  <a:ext uri="{FF2B5EF4-FFF2-40B4-BE49-F238E27FC236}">
                    <a16:creationId xmlns:a16="http://schemas.microsoft.com/office/drawing/2014/main" xmlns="" id="{D42D02A2-0AD6-47AB-AE87-051B73A487B7}"/>
                  </a:ext>
                </a:extLst>
              </p:cNvPr>
              <p:cNvSpPr>
                <a:spLocks/>
              </p:cNvSpPr>
              <p:nvPr/>
            </p:nvSpPr>
            <p:spPr bwMode="auto">
              <a:xfrm>
                <a:off x="9575801" y="879476"/>
                <a:ext cx="242888" cy="366713"/>
              </a:xfrm>
              <a:custGeom>
                <a:avLst/>
                <a:gdLst>
                  <a:gd name="T0" fmla="*/ 12 w 153"/>
                  <a:gd name="T1" fmla="*/ 231 h 231"/>
                  <a:gd name="T2" fmla="*/ 0 w 153"/>
                  <a:gd name="T3" fmla="*/ 226 h 231"/>
                  <a:gd name="T4" fmla="*/ 144 w 153"/>
                  <a:gd name="T5" fmla="*/ 0 h 231"/>
                  <a:gd name="T6" fmla="*/ 153 w 153"/>
                  <a:gd name="T7" fmla="*/ 5 h 231"/>
                  <a:gd name="T8" fmla="*/ 12 w 153"/>
                  <a:gd name="T9" fmla="*/ 231 h 231"/>
                </a:gdLst>
                <a:ahLst/>
                <a:cxnLst>
                  <a:cxn ang="0">
                    <a:pos x="T0" y="T1"/>
                  </a:cxn>
                  <a:cxn ang="0">
                    <a:pos x="T2" y="T3"/>
                  </a:cxn>
                  <a:cxn ang="0">
                    <a:pos x="T4" y="T5"/>
                  </a:cxn>
                  <a:cxn ang="0">
                    <a:pos x="T6" y="T7"/>
                  </a:cxn>
                  <a:cxn ang="0">
                    <a:pos x="T8" y="T9"/>
                  </a:cxn>
                </a:cxnLst>
                <a:rect l="0" t="0" r="r" b="b"/>
                <a:pathLst>
                  <a:path w="153" h="231">
                    <a:moveTo>
                      <a:pt x="12" y="231"/>
                    </a:moveTo>
                    <a:lnTo>
                      <a:pt x="0" y="226"/>
                    </a:lnTo>
                    <a:lnTo>
                      <a:pt x="144" y="0"/>
                    </a:lnTo>
                    <a:lnTo>
                      <a:pt x="153" y="5"/>
                    </a:lnTo>
                    <a:lnTo>
                      <a:pt x="12" y="231"/>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61">
                <a:extLst>
                  <a:ext uri="{FF2B5EF4-FFF2-40B4-BE49-F238E27FC236}">
                    <a16:creationId xmlns:a16="http://schemas.microsoft.com/office/drawing/2014/main" xmlns="" id="{187234ED-EFF7-4D53-B088-A344ACF6FDB7}"/>
                  </a:ext>
                </a:extLst>
              </p:cNvPr>
              <p:cNvSpPr>
                <a:spLocks/>
              </p:cNvSpPr>
              <p:nvPr/>
            </p:nvSpPr>
            <p:spPr bwMode="auto">
              <a:xfrm>
                <a:off x="9488488" y="1041401"/>
                <a:ext cx="420688" cy="41275"/>
              </a:xfrm>
              <a:custGeom>
                <a:avLst/>
                <a:gdLst>
                  <a:gd name="T0" fmla="*/ 0 w 265"/>
                  <a:gd name="T1" fmla="*/ 12 h 26"/>
                  <a:gd name="T2" fmla="*/ 0 w 265"/>
                  <a:gd name="T3" fmla="*/ 0 h 26"/>
                  <a:gd name="T4" fmla="*/ 265 w 265"/>
                  <a:gd name="T5" fmla="*/ 15 h 26"/>
                  <a:gd name="T6" fmla="*/ 265 w 265"/>
                  <a:gd name="T7" fmla="*/ 26 h 26"/>
                  <a:gd name="T8" fmla="*/ 0 w 265"/>
                  <a:gd name="T9" fmla="*/ 12 h 26"/>
                </a:gdLst>
                <a:ahLst/>
                <a:cxnLst>
                  <a:cxn ang="0">
                    <a:pos x="T0" y="T1"/>
                  </a:cxn>
                  <a:cxn ang="0">
                    <a:pos x="T2" y="T3"/>
                  </a:cxn>
                  <a:cxn ang="0">
                    <a:pos x="T4" y="T5"/>
                  </a:cxn>
                  <a:cxn ang="0">
                    <a:pos x="T6" y="T7"/>
                  </a:cxn>
                  <a:cxn ang="0">
                    <a:pos x="T8" y="T9"/>
                  </a:cxn>
                </a:cxnLst>
                <a:rect l="0" t="0" r="r" b="b"/>
                <a:pathLst>
                  <a:path w="265" h="26">
                    <a:moveTo>
                      <a:pt x="0" y="12"/>
                    </a:moveTo>
                    <a:lnTo>
                      <a:pt x="0" y="0"/>
                    </a:lnTo>
                    <a:lnTo>
                      <a:pt x="265" y="15"/>
                    </a:lnTo>
                    <a:lnTo>
                      <a:pt x="265" y="26"/>
                    </a:lnTo>
                    <a:lnTo>
                      <a:pt x="0" y="12"/>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62">
                <a:extLst>
                  <a:ext uri="{FF2B5EF4-FFF2-40B4-BE49-F238E27FC236}">
                    <a16:creationId xmlns:a16="http://schemas.microsoft.com/office/drawing/2014/main" xmlns="" id="{86CC1232-70A7-416C-8C32-B9BE37E66FD5}"/>
                  </a:ext>
                </a:extLst>
              </p:cNvPr>
              <p:cNvSpPr>
                <a:spLocks/>
              </p:cNvSpPr>
              <p:nvPr/>
            </p:nvSpPr>
            <p:spPr bwMode="auto">
              <a:xfrm>
                <a:off x="9553576" y="849313"/>
                <a:ext cx="63500" cy="68263"/>
              </a:xfrm>
              <a:custGeom>
                <a:avLst/>
                <a:gdLst>
                  <a:gd name="T0" fmla="*/ 15 w 17"/>
                  <a:gd name="T1" fmla="*/ 5 h 18"/>
                  <a:gd name="T2" fmla="*/ 13 w 17"/>
                  <a:gd name="T3" fmla="*/ 16 h 18"/>
                  <a:gd name="T4" fmla="*/ 2 w 17"/>
                  <a:gd name="T5" fmla="*/ 13 h 18"/>
                  <a:gd name="T6" fmla="*/ 5 w 17"/>
                  <a:gd name="T7" fmla="*/ 3 h 18"/>
                  <a:gd name="T8" fmla="*/ 15 w 17"/>
                  <a:gd name="T9" fmla="*/ 5 h 18"/>
                </a:gdLst>
                <a:ahLst/>
                <a:cxnLst>
                  <a:cxn ang="0">
                    <a:pos x="T0" y="T1"/>
                  </a:cxn>
                  <a:cxn ang="0">
                    <a:pos x="T2" y="T3"/>
                  </a:cxn>
                  <a:cxn ang="0">
                    <a:pos x="T4" y="T5"/>
                  </a:cxn>
                  <a:cxn ang="0">
                    <a:pos x="T6" y="T7"/>
                  </a:cxn>
                  <a:cxn ang="0">
                    <a:pos x="T8" y="T9"/>
                  </a:cxn>
                </a:cxnLst>
                <a:rect l="0" t="0" r="r" b="b"/>
                <a:pathLst>
                  <a:path w="17" h="18">
                    <a:moveTo>
                      <a:pt x="15" y="5"/>
                    </a:moveTo>
                    <a:cubicBezTo>
                      <a:pt x="17" y="9"/>
                      <a:pt x="16" y="13"/>
                      <a:pt x="13" y="16"/>
                    </a:cubicBezTo>
                    <a:cubicBezTo>
                      <a:pt x="9" y="18"/>
                      <a:pt x="4" y="17"/>
                      <a:pt x="2" y="13"/>
                    </a:cubicBezTo>
                    <a:cubicBezTo>
                      <a:pt x="0" y="10"/>
                      <a:pt x="1" y="5"/>
                      <a:pt x="5" y="3"/>
                    </a:cubicBezTo>
                    <a:cubicBezTo>
                      <a:pt x="8" y="0"/>
                      <a:pt x="13" y="1"/>
                      <a:pt x="15"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63">
                <a:extLst>
                  <a:ext uri="{FF2B5EF4-FFF2-40B4-BE49-F238E27FC236}">
                    <a16:creationId xmlns:a16="http://schemas.microsoft.com/office/drawing/2014/main" xmlns="" id="{3042E295-2B51-4124-AFFF-264FC3103AA4}"/>
                  </a:ext>
                </a:extLst>
              </p:cNvPr>
              <p:cNvSpPr>
                <a:spLocks/>
              </p:cNvSpPr>
              <p:nvPr/>
            </p:nvSpPr>
            <p:spPr bwMode="auto">
              <a:xfrm>
                <a:off x="9777413" y="1208088"/>
                <a:ext cx="68263" cy="68263"/>
              </a:xfrm>
              <a:custGeom>
                <a:avLst/>
                <a:gdLst>
                  <a:gd name="T0" fmla="*/ 16 w 18"/>
                  <a:gd name="T1" fmla="*/ 5 h 18"/>
                  <a:gd name="T2" fmla="*/ 13 w 18"/>
                  <a:gd name="T3" fmla="*/ 16 h 18"/>
                  <a:gd name="T4" fmla="*/ 3 w 18"/>
                  <a:gd name="T5" fmla="*/ 13 h 18"/>
                  <a:gd name="T6" fmla="*/ 5 w 18"/>
                  <a:gd name="T7" fmla="*/ 3 h 18"/>
                  <a:gd name="T8" fmla="*/ 16 w 18"/>
                  <a:gd name="T9" fmla="*/ 5 h 18"/>
                </a:gdLst>
                <a:ahLst/>
                <a:cxnLst>
                  <a:cxn ang="0">
                    <a:pos x="T0" y="T1"/>
                  </a:cxn>
                  <a:cxn ang="0">
                    <a:pos x="T2" y="T3"/>
                  </a:cxn>
                  <a:cxn ang="0">
                    <a:pos x="T4" y="T5"/>
                  </a:cxn>
                  <a:cxn ang="0">
                    <a:pos x="T6" y="T7"/>
                  </a:cxn>
                  <a:cxn ang="0">
                    <a:pos x="T8" y="T9"/>
                  </a:cxn>
                </a:cxnLst>
                <a:rect l="0" t="0" r="r" b="b"/>
                <a:pathLst>
                  <a:path w="18" h="18">
                    <a:moveTo>
                      <a:pt x="16" y="5"/>
                    </a:moveTo>
                    <a:cubicBezTo>
                      <a:pt x="18" y="9"/>
                      <a:pt x="17" y="13"/>
                      <a:pt x="13" y="16"/>
                    </a:cubicBezTo>
                    <a:cubicBezTo>
                      <a:pt x="10" y="18"/>
                      <a:pt x="5" y="17"/>
                      <a:pt x="3" y="13"/>
                    </a:cubicBezTo>
                    <a:cubicBezTo>
                      <a:pt x="0" y="10"/>
                      <a:pt x="2" y="5"/>
                      <a:pt x="5" y="3"/>
                    </a:cubicBezTo>
                    <a:cubicBezTo>
                      <a:pt x="9" y="0"/>
                      <a:pt x="13" y="1"/>
                      <a:pt x="16" y="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64">
                <a:extLst>
                  <a:ext uri="{FF2B5EF4-FFF2-40B4-BE49-F238E27FC236}">
                    <a16:creationId xmlns:a16="http://schemas.microsoft.com/office/drawing/2014/main" xmlns="" id="{494D0EBA-14DE-4944-9D54-C07D3CD3B040}"/>
                  </a:ext>
                </a:extLst>
              </p:cNvPr>
              <p:cNvSpPr>
                <a:spLocks/>
              </p:cNvSpPr>
              <p:nvPr/>
            </p:nvSpPr>
            <p:spPr bwMode="auto">
              <a:xfrm>
                <a:off x="9782176" y="849313"/>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9"/>
                      <a:pt x="2" y="5"/>
                    </a:cubicBezTo>
                    <a:cubicBezTo>
                      <a:pt x="4" y="1"/>
                      <a:pt x="9" y="0"/>
                      <a:pt x="13" y="3"/>
                    </a:cubicBezTo>
                    <a:cubicBezTo>
                      <a:pt x="16" y="5"/>
                      <a:pt x="17" y="10"/>
                      <a:pt x="15" y="1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65">
                <a:extLst>
                  <a:ext uri="{FF2B5EF4-FFF2-40B4-BE49-F238E27FC236}">
                    <a16:creationId xmlns:a16="http://schemas.microsoft.com/office/drawing/2014/main" xmlns="" id="{D749C91F-5EB7-4752-997D-AD61C94A1864}"/>
                  </a:ext>
                </a:extLst>
              </p:cNvPr>
              <p:cNvSpPr>
                <a:spLocks/>
              </p:cNvSpPr>
              <p:nvPr/>
            </p:nvSpPr>
            <p:spPr bwMode="auto">
              <a:xfrm>
                <a:off x="9553576" y="1208088"/>
                <a:ext cx="63500" cy="68263"/>
              </a:xfrm>
              <a:custGeom>
                <a:avLst/>
                <a:gdLst>
                  <a:gd name="T0" fmla="*/ 15 w 17"/>
                  <a:gd name="T1" fmla="*/ 13 h 18"/>
                  <a:gd name="T2" fmla="*/ 4 w 17"/>
                  <a:gd name="T3" fmla="*/ 16 h 18"/>
                  <a:gd name="T4" fmla="*/ 2 w 17"/>
                  <a:gd name="T5" fmla="*/ 5 h 18"/>
                  <a:gd name="T6" fmla="*/ 13 w 17"/>
                  <a:gd name="T7" fmla="*/ 3 h 18"/>
                  <a:gd name="T8" fmla="*/ 15 w 17"/>
                  <a:gd name="T9" fmla="*/ 13 h 18"/>
                </a:gdLst>
                <a:ahLst/>
                <a:cxnLst>
                  <a:cxn ang="0">
                    <a:pos x="T0" y="T1"/>
                  </a:cxn>
                  <a:cxn ang="0">
                    <a:pos x="T2" y="T3"/>
                  </a:cxn>
                  <a:cxn ang="0">
                    <a:pos x="T4" y="T5"/>
                  </a:cxn>
                  <a:cxn ang="0">
                    <a:pos x="T6" y="T7"/>
                  </a:cxn>
                  <a:cxn ang="0">
                    <a:pos x="T8" y="T9"/>
                  </a:cxn>
                </a:cxnLst>
                <a:rect l="0" t="0" r="r" b="b"/>
                <a:pathLst>
                  <a:path w="17" h="18">
                    <a:moveTo>
                      <a:pt x="15" y="13"/>
                    </a:moveTo>
                    <a:cubicBezTo>
                      <a:pt x="13" y="17"/>
                      <a:pt x="8" y="18"/>
                      <a:pt x="4" y="16"/>
                    </a:cubicBezTo>
                    <a:cubicBezTo>
                      <a:pt x="1" y="13"/>
                      <a:pt x="0" y="8"/>
                      <a:pt x="2" y="5"/>
                    </a:cubicBezTo>
                    <a:cubicBezTo>
                      <a:pt x="4" y="1"/>
                      <a:pt x="9" y="0"/>
                      <a:pt x="13" y="3"/>
                    </a:cubicBezTo>
                    <a:cubicBezTo>
                      <a:pt x="16" y="5"/>
                      <a:pt x="17" y="10"/>
                      <a:pt x="15" y="1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66">
                <a:extLst>
                  <a:ext uri="{FF2B5EF4-FFF2-40B4-BE49-F238E27FC236}">
                    <a16:creationId xmlns:a16="http://schemas.microsoft.com/office/drawing/2014/main" xmlns="" id="{9D77267E-28C2-4389-A798-23FD6C75195E}"/>
                  </a:ext>
                </a:extLst>
              </p:cNvPr>
              <p:cNvSpPr>
                <a:spLocks/>
              </p:cNvSpPr>
              <p:nvPr/>
            </p:nvSpPr>
            <p:spPr bwMode="auto">
              <a:xfrm>
                <a:off x="9879013" y="1046163"/>
                <a:ext cx="60325" cy="55563"/>
              </a:xfrm>
              <a:custGeom>
                <a:avLst/>
                <a:gdLst>
                  <a:gd name="T0" fmla="*/ 8 w 16"/>
                  <a:gd name="T1" fmla="*/ 15 h 15"/>
                  <a:gd name="T2" fmla="*/ 1 w 16"/>
                  <a:gd name="T3" fmla="*/ 7 h 15"/>
                  <a:gd name="T4" fmla="*/ 9 w 16"/>
                  <a:gd name="T5" fmla="*/ 0 h 15"/>
                  <a:gd name="T6" fmla="*/ 16 w 16"/>
                  <a:gd name="T7" fmla="*/ 8 h 15"/>
                  <a:gd name="T8" fmla="*/ 8 w 16"/>
                  <a:gd name="T9" fmla="*/ 15 h 15"/>
                </a:gdLst>
                <a:ahLst/>
                <a:cxnLst>
                  <a:cxn ang="0">
                    <a:pos x="T0" y="T1"/>
                  </a:cxn>
                  <a:cxn ang="0">
                    <a:pos x="T2" y="T3"/>
                  </a:cxn>
                  <a:cxn ang="0">
                    <a:pos x="T4" y="T5"/>
                  </a:cxn>
                  <a:cxn ang="0">
                    <a:pos x="T6" y="T7"/>
                  </a:cxn>
                  <a:cxn ang="0">
                    <a:pos x="T8" y="T9"/>
                  </a:cxn>
                </a:cxnLst>
                <a:rect l="0" t="0" r="r" b="b"/>
                <a:pathLst>
                  <a:path w="16" h="15">
                    <a:moveTo>
                      <a:pt x="8" y="15"/>
                    </a:moveTo>
                    <a:cubicBezTo>
                      <a:pt x="4" y="15"/>
                      <a:pt x="0" y="11"/>
                      <a:pt x="1" y="7"/>
                    </a:cubicBezTo>
                    <a:cubicBezTo>
                      <a:pt x="1" y="3"/>
                      <a:pt x="4" y="0"/>
                      <a:pt x="9" y="0"/>
                    </a:cubicBezTo>
                    <a:cubicBezTo>
                      <a:pt x="13" y="0"/>
                      <a:pt x="16" y="4"/>
                      <a:pt x="16" y="8"/>
                    </a:cubicBezTo>
                    <a:cubicBezTo>
                      <a:pt x="16" y="12"/>
                      <a:pt x="12" y="15"/>
                      <a:pt x="8" y="1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67">
                <a:extLst>
                  <a:ext uri="{FF2B5EF4-FFF2-40B4-BE49-F238E27FC236}">
                    <a16:creationId xmlns:a16="http://schemas.microsoft.com/office/drawing/2014/main" xmlns="" id="{F9E5BCDD-F067-41DE-8EA7-7D2EDCB079D3}"/>
                  </a:ext>
                </a:extLst>
              </p:cNvPr>
              <p:cNvSpPr>
                <a:spLocks/>
              </p:cNvSpPr>
              <p:nvPr/>
            </p:nvSpPr>
            <p:spPr bwMode="auto">
              <a:xfrm>
                <a:off x="9458326" y="1022351"/>
                <a:ext cx="60325" cy="60325"/>
              </a:xfrm>
              <a:custGeom>
                <a:avLst/>
                <a:gdLst>
                  <a:gd name="T0" fmla="*/ 7 w 16"/>
                  <a:gd name="T1" fmla="*/ 15 h 16"/>
                  <a:gd name="T2" fmla="*/ 0 w 16"/>
                  <a:gd name="T3" fmla="*/ 7 h 16"/>
                  <a:gd name="T4" fmla="*/ 8 w 16"/>
                  <a:gd name="T5" fmla="*/ 0 h 16"/>
                  <a:gd name="T6" fmla="*/ 15 w 16"/>
                  <a:gd name="T7" fmla="*/ 8 h 16"/>
                  <a:gd name="T8" fmla="*/ 7 w 16"/>
                  <a:gd name="T9" fmla="*/ 15 h 16"/>
                </a:gdLst>
                <a:ahLst/>
                <a:cxnLst>
                  <a:cxn ang="0">
                    <a:pos x="T0" y="T1"/>
                  </a:cxn>
                  <a:cxn ang="0">
                    <a:pos x="T2" y="T3"/>
                  </a:cxn>
                  <a:cxn ang="0">
                    <a:pos x="T4" y="T5"/>
                  </a:cxn>
                  <a:cxn ang="0">
                    <a:pos x="T6" y="T7"/>
                  </a:cxn>
                  <a:cxn ang="0">
                    <a:pos x="T8" y="T9"/>
                  </a:cxn>
                </a:cxnLst>
                <a:rect l="0" t="0" r="r" b="b"/>
                <a:pathLst>
                  <a:path w="16" h="16">
                    <a:moveTo>
                      <a:pt x="7" y="15"/>
                    </a:moveTo>
                    <a:cubicBezTo>
                      <a:pt x="3" y="15"/>
                      <a:pt x="0" y="12"/>
                      <a:pt x="0" y="7"/>
                    </a:cubicBezTo>
                    <a:cubicBezTo>
                      <a:pt x="0" y="3"/>
                      <a:pt x="4" y="0"/>
                      <a:pt x="8" y="0"/>
                    </a:cubicBezTo>
                    <a:cubicBezTo>
                      <a:pt x="12" y="0"/>
                      <a:pt x="16" y="4"/>
                      <a:pt x="15" y="8"/>
                    </a:cubicBezTo>
                    <a:cubicBezTo>
                      <a:pt x="15" y="12"/>
                      <a:pt x="12" y="16"/>
                      <a:pt x="7" y="1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85" name="Groupe 584">
            <a:extLst>
              <a:ext uri="{FF2B5EF4-FFF2-40B4-BE49-F238E27FC236}">
                <a16:creationId xmlns:a16="http://schemas.microsoft.com/office/drawing/2014/main" xmlns="" id="{E468044A-B9B6-4C2E-A5DB-7BF0FEC7855E}"/>
              </a:ext>
            </a:extLst>
          </p:cNvPr>
          <p:cNvGrpSpPr>
            <a:grpSpLocks noChangeAspect="1"/>
          </p:cNvGrpSpPr>
          <p:nvPr/>
        </p:nvGrpSpPr>
        <p:grpSpPr>
          <a:xfrm>
            <a:off x="9781387" y="3935884"/>
            <a:ext cx="769122" cy="720000"/>
            <a:chOff x="8178801" y="3581400"/>
            <a:chExt cx="869950" cy="814388"/>
          </a:xfrm>
        </p:grpSpPr>
        <p:sp>
          <p:nvSpPr>
            <p:cNvPr id="586" name="Freeform 194">
              <a:extLst>
                <a:ext uri="{FF2B5EF4-FFF2-40B4-BE49-F238E27FC236}">
                  <a16:creationId xmlns:a16="http://schemas.microsoft.com/office/drawing/2014/main" xmlns="" id="{E56A10C4-DE95-4DDF-AAA2-695EF6CE95C8}"/>
                </a:ext>
              </a:extLst>
            </p:cNvPr>
            <p:cNvSpPr>
              <a:spLocks/>
            </p:cNvSpPr>
            <p:nvPr/>
          </p:nvSpPr>
          <p:spPr bwMode="auto">
            <a:xfrm>
              <a:off x="8178801" y="3581400"/>
              <a:ext cx="869950" cy="814388"/>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7" name="Groupe 586">
              <a:extLst>
                <a:ext uri="{FF2B5EF4-FFF2-40B4-BE49-F238E27FC236}">
                  <a16:creationId xmlns:a16="http://schemas.microsoft.com/office/drawing/2014/main" xmlns="" id="{9368D541-72A3-4E70-A9AA-730A9070F540}"/>
                </a:ext>
              </a:extLst>
            </p:cNvPr>
            <p:cNvGrpSpPr/>
            <p:nvPr/>
          </p:nvGrpSpPr>
          <p:grpSpPr>
            <a:xfrm>
              <a:off x="8362951" y="3760787"/>
              <a:ext cx="382588" cy="433388"/>
              <a:chOff x="8362951" y="3760787"/>
              <a:chExt cx="382588" cy="433388"/>
            </a:xfrm>
          </p:grpSpPr>
          <p:sp>
            <p:nvSpPr>
              <p:cNvPr id="588" name="Freeform 78">
                <a:extLst>
                  <a:ext uri="{FF2B5EF4-FFF2-40B4-BE49-F238E27FC236}">
                    <a16:creationId xmlns:a16="http://schemas.microsoft.com/office/drawing/2014/main" xmlns="" id="{ED15E19C-622F-4D0C-BA6A-52873F406D34}"/>
                  </a:ext>
                </a:extLst>
              </p:cNvPr>
              <p:cNvSpPr>
                <a:spLocks/>
              </p:cNvSpPr>
              <p:nvPr/>
            </p:nvSpPr>
            <p:spPr bwMode="auto">
              <a:xfrm>
                <a:off x="8362951" y="39862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79">
                <a:extLst>
                  <a:ext uri="{FF2B5EF4-FFF2-40B4-BE49-F238E27FC236}">
                    <a16:creationId xmlns:a16="http://schemas.microsoft.com/office/drawing/2014/main" xmlns="" id="{1429300D-9C75-45B5-9F05-657F880A8030}"/>
                  </a:ext>
                </a:extLst>
              </p:cNvPr>
              <p:cNvSpPr>
                <a:spLocks/>
              </p:cNvSpPr>
              <p:nvPr/>
            </p:nvSpPr>
            <p:spPr bwMode="auto">
              <a:xfrm>
                <a:off x="8362951" y="3986212"/>
                <a:ext cx="0" cy="476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200">
                <a:extLst>
                  <a:ext uri="{FF2B5EF4-FFF2-40B4-BE49-F238E27FC236}">
                    <a16:creationId xmlns:a16="http://schemas.microsoft.com/office/drawing/2014/main" xmlns="" id="{CA363712-C934-41E6-AE0F-2A46AB3834B4}"/>
                  </a:ext>
                </a:extLst>
              </p:cNvPr>
              <p:cNvSpPr>
                <a:spLocks/>
              </p:cNvSpPr>
              <p:nvPr/>
            </p:nvSpPr>
            <p:spPr bwMode="auto">
              <a:xfrm>
                <a:off x="8509001" y="3760787"/>
                <a:ext cx="203200" cy="230188"/>
              </a:xfrm>
              <a:custGeom>
                <a:avLst/>
                <a:gdLst>
                  <a:gd name="T0" fmla="*/ 0 w 54"/>
                  <a:gd name="T1" fmla="*/ 61 h 61"/>
                  <a:gd name="T2" fmla="*/ 0 w 54"/>
                  <a:gd name="T3" fmla="*/ 28 h 61"/>
                  <a:gd name="T4" fmla="*/ 11 w 54"/>
                  <a:gd name="T5" fmla="*/ 8 h 61"/>
                  <a:gd name="T6" fmla="*/ 41 w 54"/>
                  <a:gd name="T7" fmla="*/ 7 h 61"/>
                  <a:gd name="T8" fmla="*/ 54 w 54"/>
                  <a:gd name="T9" fmla="*/ 28 h 61"/>
                  <a:gd name="T10" fmla="*/ 54 w 54"/>
                  <a:gd name="T11" fmla="*/ 41 h 61"/>
                  <a:gd name="T12" fmla="*/ 43 w 54"/>
                  <a:gd name="T13" fmla="*/ 41 h 61"/>
                  <a:gd name="T14" fmla="*/ 43 w 54"/>
                  <a:gd name="T15" fmla="*/ 28 h 61"/>
                  <a:gd name="T16" fmla="*/ 27 w 54"/>
                  <a:gd name="T17" fmla="*/ 14 h 61"/>
                  <a:gd name="T18" fmla="*/ 11 w 54"/>
                  <a:gd name="T19" fmla="*/ 29 h 61"/>
                  <a:gd name="T20" fmla="*/ 11 w 54"/>
                  <a:gd name="T21" fmla="*/ 59 h 61"/>
                  <a:gd name="T22" fmla="*/ 0 w 54"/>
                  <a:gd name="T23"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61">
                    <a:moveTo>
                      <a:pt x="0" y="61"/>
                    </a:moveTo>
                    <a:cubicBezTo>
                      <a:pt x="0" y="57"/>
                      <a:pt x="0" y="32"/>
                      <a:pt x="0" y="28"/>
                    </a:cubicBezTo>
                    <a:cubicBezTo>
                      <a:pt x="0" y="18"/>
                      <a:pt x="7" y="12"/>
                      <a:pt x="11" y="8"/>
                    </a:cubicBezTo>
                    <a:cubicBezTo>
                      <a:pt x="16" y="4"/>
                      <a:pt x="31" y="0"/>
                      <a:pt x="41" y="7"/>
                    </a:cubicBezTo>
                    <a:cubicBezTo>
                      <a:pt x="48" y="13"/>
                      <a:pt x="54" y="19"/>
                      <a:pt x="54" y="28"/>
                    </a:cubicBezTo>
                    <a:cubicBezTo>
                      <a:pt x="54" y="33"/>
                      <a:pt x="54" y="37"/>
                      <a:pt x="54" y="41"/>
                    </a:cubicBezTo>
                    <a:cubicBezTo>
                      <a:pt x="43" y="41"/>
                      <a:pt x="43" y="41"/>
                      <a:pt x="43" y="41"/>
                    </a:cubicBezTo>
                    <a:cubicBezTo>
                      <a:pt x="43" y="28"/>
                      <a:pt x="43" y="28"/>
                      <a:pt x="43" y="28"/>
                    </a:cubicBezTo>
                    <a:cubicBezTo>
                      <a:pt x="43" y="21"/>
                      <a:pt x="34" y="14"/>
                      <a:pt x="27" y="14"/>
                    </a:cubicBezTo>
                    <a:cubicBezTo>
                      <a:pt x="21" y="14"/>
                      <a:pt x="11" y="19"/>
                      <a:pt x="11" y="29"/>
                    </a:cubicBezTo>
                    <a:cubicBezTo>
                      <a:pt x="11" y="59"/>
                      <a:pt x="11" y="59"/>
                      <a:pt x="11" y="59"/>
                    </a:cubicBezTo>
                    <a:lnTo>
                      <a:pt x="0" y="6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201">
                <a:extLst>
                  <a:ext uri="{FF2B5EF4-FFF2-40B4-BE49-F238E27FC236}">
                    <a16:creationId xmlns:a16="http://schemas.microsoft.com/office/drawing/2014/main" xmlns="" id="{93973FF7-58C2-4081-A8AC-E12E4A5ED9D5}"/>
                  </a:ext>
                </a:extLst>
              </p:cNvPr>
              <p:cNvSpPr>
                <a:spLocks/>
              </p:cNvSpPr>
              <p:nvPr/>
            </p:nvSpPr>
            <p:spPr bwMode="auto">
              <a:xfrm>
                <a:off x="8478839" y="3971925"/>
                <a:ext cx="266700" cy="222250"/>
              </a:xfrm>
              <a:custGeom>
                <a:avLst/>
                <a:gdLst>
                  <a:gd name="T0" fmla="*/ 58 w 71"/>
                  <a:gd name="T1" fmla="*/ 59 h 59"/>
                  <a:gd name="T2" fmla="*/ 0 w 71"/>
                  <a:gd name="T3" fmla="*/ 59 h 59"/>
                  <a:gd name="T4" fmla="*/ 0 w 71"/>
                  <a:gd name="T5" fmla="*/ 0 h 59"/>
                  <a:gd name="T6" fmla="*/ 71 w 71"/>
                  <a:gd name="T7" fmla="*/ 0 h 59"/>
                  <a:gd name="T8" fmla="*/ 71 w 71"/>
                  <a:gd name="T9" fmla="*/ 47 h 59"/>
                  <a:gd name="T10" fmla="*/ 58 w 71"/>
                  <a:gd name="T11" fmla="*/ 59 h 59"/>
                </a:gdLst>
                <a:ahLst/>
                <a:cxnLst>
                  <a:cxn ang="0">
                    <a:pos x="T0" y="T1"/>
                  </a:cxn>
                  <a:cxn ang="0">
                    <a:pos x="T2" y="T3"/>
                  </a:cxn>
                  <a:cxn ang="0">
                    <a:pos x="T4" y="T5"/>
                  </a:cxn>
                  <a:cxn ang="0">
                    <a:pos x="T6" y="T7"/>
                  </a:cxn>
                  <a:cxn ang="0">
                    <a:pos x="T8" y="T9"/>
                  </a:cxn>
                  <a:cxn ang="0">
                    <a:pos x="T10" y="T11"/>
                  </a:cxn>
                </a:cxnLst>
                <a:rect l="0" t="0" r="r" b="b"/>
                <a:pathLst>
                  <a:path w="71" h="59">
                    <a:moveTo>
                      <a:pt x="58" y="59"/>
                    </a:moveTo>
                    <a:cubicBezTo>
                      <a:pt x="58" y="59"/>
                      <a:pt x="3" y="58"/>
                      <a:pt x="0" y="59"/>
                    </a:cubicBezTo>
                    <a:cubicBezTo>
                      <a:pt x="0" y="58"/>
                      <a:pt x="0" y="0"/>
                      <a:pt x="0" y="0"/>
                    </a:cubicBezTo>
                    <a:cubicBezTo>
                      <a:pt x="71" y="0"/>
                      <a:pt x="71" y="0"/>
                      <a:pt x="71" y="0"/>
                    </a:cubicBezTo>
                    <a:cubicBezTo>
                      <a:pt x="71" y="47"/>
                      <a:pt x="71" y="47"/>
                      <a:pt x="71" y="47"/>
                    </a:cubicBezTo>
                    <a:cubicBezTo>
                      <a:pt x="71" y="54"/>
                      <a:pt x="65" y="59"/>
                      <a:pt x="58" y="59"/>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202">
                <a:extLst>
                  <a:ext uri="{FF2B5EF4-FFF2-40B4-BE49-F238E27FC236}">
                    <a16:creationId xmlns:a16="http://schemas.microsoft.com/office/drawing/2014/main" xmlns="" id="{3E146FF8-FA6E-400A-B46B-20C51A1FC74A}"/>
                  </a:ext>
                </a:extLst>
              </p:cNvPr>
              <p:cNvSpPr>
                <a:spLocks/>
              </p:cNvSpPr>
              <p:nvPr/>
            </p:nvSpPr>
            <p:spPr bwMode="auto">
              <a:xfrm>
                <a:off x="8572501" y="4021137"/>
                <a:ext cx="79375" cy="77788"/>
              </a:xfrm>
              <a:custGeom>
                <a:avLst/>
                <a:gdLst>
                  <a:gd name="T0" fmla="*/ 0 w 21"/>
                  <a:gd name="T1" fmla="*/ 10 h 21"/>
                  <a:gd name="T2" fmla="*/ 10 w 21"/>
                  <a:gd name="T3" fmla="*/ 0 h 21"/>
                  <a:gd name="T4" fmla="*/ 10 w 21"/>
                  <a:gd name="T5" fmla="*/ 0 h 21"/>
                  <a:gd name="T6" fmla="*/ 10 w 21"/>
                  <a:gd name="T7" fmla="*/ 0 h 21"/>
                  <a:gd name="T8" fmla="*/ 21 w 21"/>
                  <a:gd name="T9" fmla="*/ 10 h 21"/>
                  <a:gd name="T10" fmla="*/ 21 w 21"/>
                  <a:gd name="T11" fmla="*/ 10 h 21"/>
                  <a:gd name="T12" fmla="*/ 21 w 21"/>
                  <a:gd name="T13" fmla="*/ 10 h 21"/>
                  <a:gd name="T14" fmla="*/ 10 w 21"/>
                  <a:gd name="T15" fmla="*/ 21 h 21"/>
                  <a:gd name="T16" fmla="*/ 10 w 21"/>
                  <a:gd name="T17" fmla="*/ 21 h 21"/>
                  <a:gd name="T18" fmla="*/ 10 w 21"/>
                  <a:gd name="T19" fmla="*/ 21 h 21"/>
                  <a:gd name="T20" fmla="*/ 0 w 21"/>
                  <a:gd name="T21" fmla="*/ 10 h 21"/>
                  <a:gd name="T22" fmla="*/ 0 w 21"/>
                  <a:gd name="T23"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0" y="10"/>
                    </a:moveTo>
                    <a:cubicBezTo>
                      <a:pt x="0" y="5"/>
                      <a:pt x="5" y="0"/>
                      <a:pt x="10" y="0"/>
                    </a:cubicBezTo>
                    <a:cubicBezTo>
                      <a:pt x="10" y="0"/>
                      <a:pt x="10" y="0"/>
                      <a:pt x="10" y="0"/>
                    </a:cubicBezTo>
                    <a:cubicBezTo>
                      <a:pt x="10" y="0"/>
                      <a:pt x="10" y="0"/>
                      <a:pt x="10" y="0"/>
                    </a:cubicBezTo>
                    <a:cubicBezTo>
                      <a:pt x="16" y="0"/>
                      <a:pt x="21" y="5"/>
                      <a:pt x="21" y="10"/>
                    </a:cubicBezTo>
                    <a:cubicBezTo>
                      <a:pt x="21" y="10"/>
                      <a:pt x="21" y="10"/>
                      <a:pt x="21" y="10"/>
                    </a:cubicBezTo>
                    <a:cubicBezTo>
                      <a:pt x="21" y="10"/>
                      <a:pt x="21" y="10"/>
                      <a:pt x="21" y="10"/>
                    </a:cubicBezTo>
                    <a:cubicBezTo>
                      <a:pt x="21" y="16"/>
                      <a:pt x="16" y="21"/>
                      <a:pt x="10" y="21"/>
                    </a:cubicBezTo>
                    <a:cubicBezTo>
                      <a:pt x="10" y="21"/>
                      <a:pt x="10" y="21"/>
                      <a:pt x="10" y="21"/>
                    </a:cubicBezTo>
                    <a:cubicBezTo>
                      <a:pt x="10" y="21"/>
                      <a:pt x="10" y="21"/>
                      <a:pt x="10" y="21"/>
                    </a:cubicBezTo>
                    <a:cubicBezTo>
                      <a:pt x="5" y="21"/>
                      <a:pt x="0" y="16"/>
                      <a:pt x="0" y="10"/>
                    </a:cubicBezTo>
                    <a:cubicBezTo>
                      <a:pt x="0" y="10"/>
                      <a:pt x="0" y="10"/>
                      <a:pt x="0" y="1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Rectangle 203">
                <a:extLst>
                  <a:ext uri="{FF2B5EF4-FFF2-40B4-BE49-F238E27FC236}">
                    <a16:creationId xmlns:a16="http://schemas.microsoft.com/office/drawing/2014/main" xmlns="" id="{5CA8498D-F330-4B18-A490-F3C760EE6F1F}"/>
                  </a:ext>
                </a:extLst>
              </p:cNvPr>
              <p:cNvSpPr>
                <a:spLocks noChangeArrowheads="1"/>
              </p:cNvSpPr>
              <p:nvPr/>
            </p:nvSpPr>
            <p:spPr bwMode="auto">
              <a:xfrm>
                <a:off x="8602664" y="4051300"/>
                <a:ext cx="15875" cy="96838"/>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Rectangle 204">
                <a:extLst>
                  <a:ext uri="{FF2B5EF4-FFF2-40B4-BE49-F238E27FC236}">
                    <a16:creationId xmlns:a16="http://schemas.microsoft.com/office/drawing/2014/main" xmlns="" id="{E30B6EC1-E65C-42AC-82D4-522915E86E26}"/>
                  </a:ext>
                </a:extLst>
              </p:cNvPr>
              <p:cNvSpPr>
                <a:spLocks noChangeArrowheads="1"/>
              </p:cNvSpPr>
              <p:nvPr/>
            </p:nvSpPr>
            <p:spPr bwMode="auto">
              <a:xfrm>
                <a:off x="8618539" y="4137025"/>
                <a:ext cx="17463" cy="11113"/>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Rectangle 205">
                <a:extLst>
                  <a:ext uri="{FF2B5EF4-FFF2-40B4-BE49-F238E27FC236}">
                    <a16:creationId xmlns:a16="http://schemas.microsoft.com/office/drawing/2014/main" xmlns="" id="{516F59C9-CD70-47A6-9899-B15745C19BFB}"/>
                  </a:ext>
                </a:extLst>
              </p:cNvPr>
              <p:cNvSpPr>
                <a:spLocks noChangeArrowheads="1"/>
              </p:cNvSpPr>
              <p:nvPr/>
            </p:nvSpPr>
            <p:spPr bwMode="auto">
              <a:xfrm>
                <a:off x="8618539" y="4133850"/>
                <a:ext cx="11113" cy="3175"/>
              </a:xfrm>
              <a:prstGeom prst="rect">
                <a:avLst/>
              </a:prstGeom>
              <a:solidFill>
                <a:srgbClr val="ECED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6" name="Groupe 595">
            <a:extLst>
              <a:ext uri="{FF2B5EF4-FFF2-40B4-BE49-F238E27FC236}">
                <a16:creationId xmlns:a16="http://schemas.microsoft.com/office/drawing/2014/main" xmlns="" id="{938260E1-98ED-41AF-94F3-48CE487764F9}"/>
              </a:ext>
            </a:extLst>
          </p:cNvPr>
          <p:cNvGrpSpPr>
            <a:grpSpLocks noChangeAspect="1"/>
          </p:cNvGrpSpPr>
          <p:nvPr/>
        </p:nvGrpSpPr>
        <p:grpSpPr>
          <a:xfrm>
            <a:off x="7897453" y="3935884"/>
            <a:ext cx="771829" cy="720000"/>
            <a:chOff x="6088064" y="3576637"/>
            <a:chExt cx="874713" cy="815975"/>
          </a:xfrm>
        </p:grpSpPr>
        <p:sp>
          <p:nvSpPr>
            <p:cNvPr id="597" name="Freeform 199">
              <a:extLst>
                <a:ext uri="{FF2B5EF4-FFF2-40B4-BE49-F238E27FC236}">
                  <a16:creationId xmlns:a16="http://schemas.microsoft.com/office/drawing/2014/main" xmlns="" id="{0E6537A9-9D42-4588-995B-511984636147}"/>
                </a:ext>
              </a:extLst>
            </p:cNvPr>
            <p:cNvSpPr>
              <a:spLocks/>
            </p:cNvSpPr>
            <p:nvPr/>
          </p:nvSpPr>
          <p:spPr bwMode="auto">
            <a:xfrm>
              <a:off x="6088064" y="3576637"/>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7"/>
                    <a:pt x="10" y="65"/>
                    <a:pt x="56" y="33"/>
                  </a:cubicBezTo>
                  <a:cubicBezTo>
                    <a:pt x="102" y="0"/>
                    <a:pt x="166" y="10"/>
                    <a:pt x="199" y="53"/>
                  </a:cubicBezTo>
                  <a:cubicBezTo>
                    <a:pt x="233" y="96"/>
                    <a:pt x="219" y="153"/>
                    <a:pt x="173" y="185"/>
                  </a:cubicBezTo>
                  <a:cubicBezTo>
                    <a:pt x="128" y="217"/>
                    <a:pt x="67" y="214"/>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98" name="Groupe 597">
              <a:extLst>
                <a:ext uri="{FF2B5EF4-FFF2-40B4-BE49-F238E27FC236}">
                  <a16:creationId xmlns:a16="http://schemas.microsoft.com/office/drawing/2014/main" xmlns="" id="{8A7800F0-7AD7-4FE4-81ED-0D17DE705E5B}"/>
                </a:ext>
              </a:extLst>
            </p:cNvPr>
            <p:cNvGrpSpPr/>
            <p:nvPr/>
          </p:nvGrpSpPr>
          <p:grpSpPr>
            <a:xfrm>
              <a:off x="6335714" y="3798887"/>
              <a:ext cx="379413" cy="382588"/>
              <a:chOff x="6335714" y="3798887"/>
              <a:chExt cx="379413" cy="382588"/>
            </a:xfrm>
          </p:grpSpPr>
          <p:sp>
            <p:nvSpPr>
              <p:cNvPr id="599" name="Freeform 230">
                <a:extLst>
                  <a:ext uri="{FF2B5EF4-FFF2-40B4-BE49-F238E27FC236}">
                    <a16:creationId xmlns:a16="http://schemas.microsoft.com/office/drawing/2014/main" xmlns="" id="{45267CDE-E609-421F-ACCE-B02C00AEE793}"/>
                  </a:ext>
                </a:extLst>
              </p:cNvPr>
              <p:cNvSpPr>
                <a:spLocks/>
              </p:cNvSpPr>
              <p:nvPr/>
            </p:nvSpPr>
            <p:spPr bwMode="auto">
              <a:xfrm>
                <a:off x="6335714" y="3832225"/>
                <a:ext cx="379413" cy="349250"/>
              </a:xfrm>
              <a:custGeom>
                <a:avLst/>
                <a:gdLst>
                  <a:gd name="T0" fmla="*/ 91 w 101"/>
                  <a:gd name="T1" fmla="*/ 18 h 93"/>
                  <a:gd name="T2" fmla="*/ 63 w 101"/>
                  <a:gd name="T3" fmla="*/ 0 h 93"/>
                  <a:gd name="T4" fmla="*/ 63 w 101"/>
                  <a:gd name="T5" fmla="*/ 9 h 93"/>
                  <a:gd name="T6" fmla="*/ 83 w 101"/>
                  <a:gd name="T7" fmla="*/ 23 h 93"/>
                  <a:gd name="T8" fmla="*/ 90 w 101"/>
                  <a:gd name="T9" fmla="*/ 49 h 93"/>
                  <a:gd name="T10" fmla="*/ 73 w 101"/>
                  <a:gd name="T11" fmla="*/ 76 h 93"/>
                  <a:gd name="T12" fmla="*/ 17 w 101"/>
                  <a:gd name="T13" fmla="*/ 70 h 93"/>
                  <a:gd name="T14" fmla="*/ 10 w 101"/>
                  <a:gd name="T15" fmla="*/ 41 h 93"/>
                  <a:gd name="T16" fmla="*/ 26 w 101"/>
                  <a:gd name="T17" fmla="*/ 15 h 93"/>
                  <a:gd name="T18" fmla="*/ 37 w 101"/>
                  <a:gd name="T19" fmla="*/ 10 h 93"/>
                  <a:gd name="T20" fmla="*/ 37 w 101"/>
                  <a:gd name="T21" fmla="*/ 0 h 93"/>
                  <a:gd name="T22" fmla="*/ 21 w 101"/>
                  <a:gd name="T23" fmla="*/ 8 h 93"/>
                  <a:gd name="T24" fmla="*/ 1 w 101"/>
                  <a:gd name="T25" fmla="*/ 40 h 93"/>
                  <a:gd name="T26" fmla="*/ 0 w 101"/>
                  <a:gd name="T27" fmla="*/ 47 h 93"/>
                  <a:gd name="T28" fmla="*/ 10 w 101"/>
                  <a:gd name="T29" fmla="*/ 75 h 93"/>
                  <a:gd name="T30" fmla="*/ 47 w 101"/>
                  <a:gd name="T31" fmla="*/ 93 h 93"/>
                  <a:gd name="T32" fmla="*/ 78 w 101"/>
                  <a:gd name="T33" fmla="*/ 83 h 93"/>
                  <a:gd name="T34" fmla="*/ 99 w 101"/>
                  <a:gd name="T35" fmla="*/ 50 h 93"/>
                  <a:gd name="T36" fmla="*/ 91 w 101"/>
                  <a:gd name="T37" fmla="*/ 1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93">
                    <a:moveTo>
                      <a:pt x="91" y="18"/>
                    </a:moveTo>
                    <a:cubicBezTo>
                      <a:pt x="83" y="9"/>
                      <a:pt x="74" y="3"/>
                      <a:pt x="63" y="0"/>
                    </a:cubicBezTo>
                    <a:cubicBezTo>
                      <a:pt x="63" y="9"/>
                      <a:pt x="63" y="9"/>
                      <a:pt x="63" y="9"/>
                    </a:cubicBezTo>
                    <a:cubicBezTo>
                      <a:pt x="71" y="12"/>
                      <a:pt x="78" y="17"/>
                      <a:pt x="83" y="23"/>
                    </a:cubicBezTo>
                    <a:cubicBezTo>
                      <a:pt x="89" y="31"/>
                      <a:pt x="92" y="40"/>
                      <a:pt x="90" y="49"/>
                    </a:cubicBezTo>
                    <a:cubicBezTo>
                      <a:pt x="89" y="59"/>
                      <a:pt x="83" y="69"/>
                      <a:pt x="73" y="76"/>
                    </a:cubicBezTo>
                    <a:cubicBezTo>
                      <a:pt x="54" y="89"/>
                      <a:pt x="30" y="87"/>
                      <a:pt x="17" y="70"/>
                    </a:cubicBezTo>
                    <a:cubicBezTo>
                      <a:pt x="11" y="62"/>
                      <a:pt x="8" y="52"/>
                      <a:pt x="10" y="41"/>
                    </a:cubicBezTo>
                    <a:cubicBezTo>
                      <a:pt x="11" y="31"/>
                      <a:pt x="17" y="22"/>
                      <a:pt x="26" y="15"/>
                    </a:cubicBezTo>
                    <a:cubicBezTo>
                      <a:pt x="29" y="13"/>
                      <a:pt x="33" y="11"/>
                      <a:pt x="37" y="10"/>
                    </a:cubicBezTo>
                    <a:cubicBezTo>
                      <a:pt x="37" y="0"/>
                      <a:pt x="37" y="0"/>
                      <a:pt x="37" y="0"/>
                    </a:cubicBezTo>
                    <a:cubicBezTo>
                      <a:pt x="31" y="2"/>
                      <a:pt x="26" y="5"/>
                      <a:pt x="21" y="8"/>
                    </a:cubicBezTo>
                    <a:cubicBezTo>
                      <a:pt x="10" y="16"/>
                      <a:pt x="3" y="27"/>
                      <a:pt x="1" y="40"/>
                    </a:cubicBezTo>
                    <a:cubicBezTo>
                      <a:pt x="0" y="42"/>
                      <a:pt x="0" y="45"/>
                      <a:pt x="0" y="47"/>
                    </a:cubicBezTo>
                    <a:cubicBezTo>
                      <a:pt x="0" y="57"/>
                      <a:pt x="4" y="67"/>
                      <a:pt x="10" y="75"/>
                    </a:cubicBezTo>
                    <a:cubicBezTo>
                      <a:pt x="19" y="87"/>
                      <a:pt x="32" y="93"/>
                      <a:pt x="47" y="93"/>
                    </a:cubicBezTo>
                    <a:cubicBezTo>
                      <a:pt x="57" y="93"/>
                      <a:pt x="68" y="90"/>
                      <a:pt x="78" y="83"/>
                    </a:cubicBezTo>
                    <a:cubicBezTo>
                      <a:pt x="90" y="75"/>
                      <a:pt x="97" y="63"/>
                      <a:pt x="99" y="50"/>
                    </a:cubicBezTo>
                    <a:cubicBezTo>
                      <a:pt x="101" y="39"/>
                      <a:pt x="98" y="27"/>
                      <a:pt x="91" y="1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231">
                <a:extLst>
                  <a:ext uri="{FF2B5EF4-FFF2-40B4-BE49-F238E27FC236}">
                    <a16:creationId xmlns:a16="http://schemas.microsoft.com/office/drawing/2014/main" xmlns="" id="{16659F71-18AE-407B-B45C-1BA9410472EA}"/>
                  </a:ext>
                </a:extLst>
              </p:cNvPr>
              <p:cNvSpPr>
                <a:spLocks/>
              </p:cNvSpPr>
              <p:nvPr/>
            </p:nvSpPr>
            <p:spPr bwMode="auto">
              <a:xfrm>
                <a:off x="6500814" y="3798887"/>
                <a:ext cx="44450" cy="131763"/>
              </a:xfrm>
              <a:custGeom>
                <a:avLst/>
                <a:gdLst>
                  <a:gd name="T0" fmla="*/ 6 w 12"/>
                  <a:gd name="T1" fmla="*/ 35 h 35"/>
                  <a:gd name="T2" fmla="*/ 6 w 12"/>
                  <a:gd name="T3" fmla="*/ 35 h 35"/>
                  <a:gd name="T4" fmla="*/ 0 w 12"/>
                  <a:gd name="T5" fmla="*/ 30 h 35"/>
                  <a:gd name="T6" fmla="*/ 0 w 12"/>
                  <a:gd name="T7" fmla="*/ 5 h 35"/>
                  <a:gd name="T8" fmla="*/ 6 w 12"/>
                  <a:gd name="T9" fmla="*/ 0 h 35"/>
                  <a:gd name="T10" fmla="*/ 6 w 12"/>
                  <a:gd name="T11" fmla="*/ 0 h 35"/>
                  <a:gd name="T12" fmla="*/ 12 w 12"/>
                  <a:gd name="T13" fmla="*/ 5 h 35"/>
                  <a:gd name="T14" fmla="*/ 12 w 12"/>
                  <a:gd name="T15" fmla="*/ 30 h 35"/>
                  <a:gd name="T16" fmla="*/ 6 w 12"/>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5">
                    <a:moveTo>
                      <a:pt x="6" y="35"/>
                    </a:moveTo>
                    <a:cubicBezTo>
                      <a:pt x="6" y="35"/>
                      <a:pt x="6" y="35"/>
                      <a:pt x="6" y="35"/>
                    </a:cubicBezTo>
                    <a:cubicBezTo>
                      <a:pt x="3" y="35"/>
                      <a:pt x="0" y="33"/>
                      <a:pt x="0" y="30"/>
                    </a:cubicBezTo>
                    <a:cubicBezTo>
                      <a:pt x="0" y="5"/>
                      <a:pt x="0" y="5"/>
                      <a:pt x="0" y="5"/>
                    </a:cubicBezTo>
                    <a:cubicBezTo>
                      <a:pt x="0" y="2"/>
                      <a:pt x="3" y="0"/>
                      <a:pt x="6" y="0"/>
                    </a:cubicBezTo>
                    <a:cubicBezTo>
                      <a:pt x="6" y="0"/>
                      <a:pt x="6" y="0"/>
                      <a:pt x="6" y="0"/>
                    </a:cubicBezTo>
                    <a:cubicBezTo>
                      <a:pt x="9" y="0"/>
                      <a:pt x="12" y="2"/>
                      <a:pt x="12" y="5"/>
                    </a:cubicBezTo>
                    <a:cubicBezTo>
                      <a:pt x="12" y="30"/>
                      <a:pt x="12" y="30"/>
                      <a:pt x="12" y="30"/>
                    </a:cubicBezTo>
                    <a:cubicBezTo>
                      <a:pt x="12" y="33"/>
                      <a:pt x="9" y="35"/>
                      <a:pt x="6" y="35"/>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Titre 3">
            <a:extLst>
              <a:ext uri="{FF2B5EF4-FFF2-40B4-BE49-F238E27FC236}">
                <a16:creationId xmlns:a16="http://schemas.microsoft.com/office/drawing/2014/main" xmlns="" id="{7F403355-90B8-48E8-9409-BDC4433A5AAB}"/>
              </a:ext>
            </a:extLst>
          </p:cNvPr>
          <p:cNvSpPr>
            <a:spLocks noGrp="1"/>
          </p:cNvSpPr>
          <p:nvPr>
            <p:ph type="title"/>
          </p:nvPr>
        </p:nvSpPr>
        <p:spPr/>
        <p:txBody>
          <a:bodyPr/>
          <a:lstStyle/>
          <a:p>
            <a:r>
              <a:rPr lang="en-US" dirty="0"/>
              <a:t>Icons examples</a:t>
            </a:r>
            <a:endParaRPr lang="en-US" sz="1600" dirty="0"/>
          </a:p>
        </p:txBody>
      </p:sp>
      <p:grpSp>
        <p:nvGrpSpPr>
          <p:cNvPr id="280" name="Groupe 279">
            <a:extLst>
              <a:ext uri="{FF2B5EF4-FFF2-40B4-BE49-F238E27FC236}">
                <a16:creationId xmlns:a16="http://schemas.microsoft.com/office/drawing/2014/main" xmlns="" id="{F66A7663-CF9E-4912-A23E-90EE0134DDEF}"/>
              </a:ext>
            </a:extLst>
          </p:cNvPr>
          <p:cNvGrpSpPr>
            <a:grpSpLocks noChangeAspect="1"/>
          </p:cNvGrpSpPr>
          <p:nvPr/>
        </p:nvGrpSpPr>
        <p:grpSpPr>
          <a:xfrm>
            <a:off x="6062040" y="1274501"/>
            <a:ext cx="769028" cy="720000"/>
            <a:chOff x="9953626" y="496887"/>
            <a:chExt cx="871538" cy="815975"/>
          </a:xfrm>
        </p:grpSpPr>
        <p:sp>
          <p:nvSpPr>
            <p:cNvPr id="281" name="Freeform 14">
              <a:extLst>
                <a:ext uri="{FF2B5EF4-FFF2-40B4-BE49-F238E27FC236}">
                  <a16:creationId xmlns:a16="http://schemas.microsoft.com/office/drawing/2014/main" xmlns="" id="{F74DA51F-17CC-499E-8D29-FA4962D9BB8A}"/>
                </a:ext>
              </a:extLst>
            </p:cNvPr>
            <p:cNvSpPr>
              <a:spLocks/>
            </p:cNvSpPr>
            <p:nvPr/>
          </p:nvSpPr>
          <p:spPr bwMode="auto">
            <a:xfrm>
              <a:off x="9953626" y="496887"/>
              <a:ext cx="871538" cy="815975"/>
            </a:xfrm>
            <a:custGeom>
              <a:avLst/>
              <a:gdLst>
                <a:gd name="T0" fmla="*/ 33 w 232"/>
                <a:gd name="T1" fmla="*/ 169 h 217"/>
                <a:gd name="T2" fmla="*/ 56 w 232"/>
                <a:gd name="T3" fmla="*/ 32 h 217"/>
                <a:gd name="T4" fmla="*/ 199 w 232"/>
                <a:gd name="T5" fmla="*/ 52 h 217"/>
                <a:gd name="T6" fmla="*/ 173 w 232"/>
                <a:gd name="T7" fmla="*/ 184 h 217"/>
                <a:gd name="T8" fmla="*/ 33 w 232"/>
                <a:gd name="T9" fmla="*/ 169 h 217"/>
              </a:gdLst>
              <a:ahLst/>
              <a:cxnLst>
                <a:cxn ang="0">
                  <a:pos x="T0" y="T1"/>
                </a:cxn>
                <a:cxn ang="0">
                  <a:pos x="T2" y="T3"/>
                </a:cxn>
                <a:cxn ang="0">
                  <a:pos x="T4" y="T5"/>
                </a:cxn>
                <a:cxn ang="0">
                  <a:pos x="T6" y="T7"/>
                </a:cxn>
                <a:cxn ang="0">
                  <a:pos x="T8" y="T9"/>
                </a:cxn>
              </a:cxnLst>
              <a:rect l="0" t="0" r="r" b="b"/>
              <a:pathLst>
                <a:path w="232" h="217">
                  <a:moveTo>
                    <a:pt x="33" y="169"/>
                  </a:moveTo>
                  <a:cubicBezTo>
                    <a:pt x="0" y="126"/>
                    <a:pt x="10" y="64"/>
                    <a:pt x="56" y="32"/>
                  </a:cubicBezTo>
                  <a:cubicBezTo>
                    <a:pt x="101" y="0"/>
                    <a:pt x="165" y="9"/>
                    <a:pt x="199" y="52"/>
                  </a:cubicBezTo>
                  <a:cubicBezTo>
                    <a:pt x="232" y="96"/>
                    <a:pt x="218" y="152"/>
                    <a:pt x="173" y="184"/>
                  </a:cubicBezTo>
                  <a:cubicBezTo>
                    <a:pt x="127" y="217"/>
                    <a:pt x="67" y="213"/>
                    <a:pt x="33"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91">
              <a:extLst>
                <a:ext uri="{FF2B5EF4-FFF2-40B4-BE49-F238E27FC236}">
                  <a16:creationId xmlns:a16="http://schemas.microsoft.com/office/drawing/2014/main" xmlns="" id="{EB389241-D0AC-4416-B13E-63359B52038B}"/>
                </a:ext>
              </a:extLst>
            </p:cNvPr>
            <p:cNvSpPr>
              <a:spLocks/>
            </p:cNvSpPr>
            <p:nvPr/>
          </p:nvSpPr>
          <p:spPr bwMode="auto">
            <a:xfrm>
              <a:off x="10266363" y="714375"/>
              <a:ext cx="242888" cy="203200"/>
            </a:xfrm>
            <a:custGeom>
              <a:avLst/>
              <a:gdLst>
                <a:gd name="T0" fmla="*/ 31 w 65"/>
                <a:gd name="T1" fmla="*/ 43 h 54"/>
                <a:gd name="T2" fmla="*/ 0 w 65"/>
                <a:gd name="T3" fmla="*/ 21 h 54"/>
                <a:gd name="T4" fmla="*/ 30 w 65"/>
                <a:gd name="T5" fmla="*/ 0 h 54"/>
                <a:gd name="T6" fmla="*/ 31 w 65"/>
                <a:gd name="T7" fmla="*/ 12 h 54"/>
                <a:gd name="T8" fmla="*/ 42 w 65"/>
                <a:gd name="T9" fmla="*/ 12 h 54"/>
                <a:gd name="T10" fmla="*/ 65 w 65"/>
                <a:gd name="T11" fmla="*/ 32 h 54"/>
                <a:gd name="T12" fmla="*/ 52 w 65"/>
                <a:gd name="T13" fmla="*/ 54 h 54"/>
                <a:gd name="T14" fmla="*/ 52 w 65"/>
                <a:gd name="T15" fmla="*/ 39 h 54"/>
                <a:gd name="T16" fmla="*/ 41 w 65"/>
                <a:gd name="T17" fmla="*/ 31 h 54"/>
                <a:gd name="T18" fmla="*/ 31 w 65"/>
                <a:gd name="T19" fmla="*/ 31 h 54"/>
                <a:gd name="T20" fmla="*/ 31 w 65"/>
                <a:gd name="T21"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1" y="43"/>
                  </a:moveTo>
                  <a:cubicBezTo>
                    <a:pt x="0" y="21"/>
                    <a:pt x="0" y="21"/>
                    <a:pt x="0" y="21"/>
                  </a:cubicBezTo>
                  <a:cubicBezTo>
                    <a:pt x="30" y="0"/>
                    <a:pt x="30" y="0"/>
                    <a:pt x="30" y="0"/>
                  </a:cubicBezTo>
                  <a:cubicBezTo>
                    <a:pt x="31" y="12"/>
                    <a:pt x="31" y="12"/>
                    <a:pt x="31" y="12"/>
                  </a:cubicBezTo>
                  <a:cubicBezTo>
                    <a:pt x="31" y="12"/>
                    <a:pt x="36" y="12"/>
                    <a:pt x="42" y="12"/>
                  </a:cubicBezTo>
                  <a:cubicBezTo>
                    <a:pt x="51" y="12"/>
                    <a:pt x="65" y="19"/>
                    <a:pt x="65" y="32"/>
                  </a:cubicBezTo>
                  <a:cubicBezTo>
                    <a:pt x="65" y="43"/>
                    <a:pt x="56" y="53"/>
                    <a:pt x="52" y="54"/>
                  </a:cubicBezTo>
                  <a:cubicBezTo>
                    <a:pt x="52" y="54"/>
                    <a:pt x="53" y="42"/>
                    <a:pt x="52" y="39"/>
                  </a:cubicBezTo>
                  <a:cubicBezTo>
                    <a:pt x="52" y="38"/>
                    <a:pt x="51" y="31"/>
                    <a:pt x="41" y="31"/>
                  </a:cubicBezTo>
                  <a:cubicBezTo>
                    <a:pt x="31" y="31"/>
                    <a:pt x="31" y="31"/>
                    <a:pt x="31" y="31"/>
                  </a:cubicBezTo>
                  <a:lnTo>
                    <a:pt x="31" y="43"/>
                  </a:ln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92">
              <a:extLst>
                <a:ext uri="{FF2B5EF4-FFF2-40B4-BE49-F238E27FC236}">
                  <a16:creationId xmlns:a16="http://schemas.microsoft.com/office/drawing/2014/main" xmlns="" id="{EC086A45-38FC-431D-BD7D-E63494DB10A6}"/>
                </a:ext>
              </a:extLst>
            </p:cNvPr>
            <p:cNvSpPr>
              <a:spLocks/>
            </p:cNvSpPr>
            <p:nvPr/>
          </p:nvSpPr>
          <p:spPr bwMode="auto">
            <a:xfrm>
              <a:off x="10266363" y="887412"/>
              <a:ext cx="242888" cy="206375"/>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e 283">
            <a:extLst>
              <a:ext uri="{FF2B5EF4-FFF2-40B4-BE49-F238E27FC236}">
                <a16:creationId xmlns:a16="http://schemas.microsoft.com/office/drawing/2014/main" xmlns="" id="{8F325BC7-92E6-4689-82F0-FFE0D5AB2601}"/>
              </a:ext>
            </a:extLst>
          </p:cNvPr>
          <p:cNvGrpSpPr>
            <a:grpSpLocks noChangeAspect="1"/>
          </p:cNvGrpSpPr>
          <p:nvPr/>
        </p:nvGrpSpPr>
        <p:grpSpPr>
          <a:xfrm>
            <a:off x="7003494" y="1274501"/>
            <a:ext cx="773333" cy="720000"/>
            <a:chOff x="7837488" y="5111750"/>
            <a:chExt cx="874713" cy="814388"/>
          </a:xfrm>
        </p:grpSpPr>
        <p:sp>
          <p:nvSpPr>
            <p:cNvPr id="285" name="Freeform 44">
              <a:extLst>
                <a:ext uri="{FF2B5EF4-FFF2-40B4-BE49-F238E27FC236}">
                  <a16:creationId xmlns:a16="http://schemas.microsoft.com/office/drawing/2014/main" xmlns="" id="{E521779E-991F-420E-9E96-910CA00179BB}"/>
                </a:ext>
              </a:extLst>
            </p:cNvPr>
            <p:cNvSpPr>
              <a:spLocks/>
            </p:cNvSpPr>
            <p:nvPr/>
          </p:nvSpPr>
          <p:spPr bwMode="auto">
            <a:xfrm>
              <a:off x="7837488" y="5111750"/>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6" name="Groupe 285">
              <a:extLst>
                <a:ext uri="{FF2B5EF4-FFF2-40B4-BE49-F238E27FC236}">
                  <a16:creationId xmlns:a16="http://schemas.microsoft.com/office/drawing/2014/main" xmlns="" id="{D53C7349-924B-4FBB-B553-94A57FD21AAC}"/>
                </a:ext>
              </a:extLst>
            </p:cNvPr>
            <p:cNvGrpSpPr/>
            <p:nvPr/>
          </p:nvGrpSpPr>
          <p:grpSpPr>
            <a:xfrm>
              <a:off x="8181976" y="5318125"/>
              <a:ext cx="214312" cy="420688"/>
              <a:chOff x="8181976" y="5318125"/>
              <a:chExt cx="214312" cy="420688"/>
            </a:xfrm>
          </p:grpSpPr>
          <p:sp>
            <p:nvSpPr>
              <p:cNvPr id="287" name="Freeform 178">
                <a:extLst>
                  <a:ext uri="{FF2B5EF4-FFF2-40B4-BE49-F238E27FC236}">
                    <a16:creationId xmlns:a16="http://schemas.microsoft.com/office/drawing/2014/main" xmlns="" id="{D309D472-90F7-49CF-8126-BFF462F340BA}"/>
                  </a:ext>
                </a:extLst>
              </p:cNvPr>
              <p:cNvSpPr>
                <a:spLocks/>
              </p:cNvSpPr>
              <p:nvPr/>
            </p:nvSpPr>
            <p:spPr bwMode="auto">
              <a:xfrm>
                <a:off x="8272463" y="5475287"/>
                <a:ext cx="123825" cy="139700"/>
              </a:xfrm>
              <a:custGeom>
                <a:avLst/>
                <a:gdLst>
                  <a:gd name="T0" fmla="*/ 52 w 78"/>
                  <a:gd name="T1" fmla="*/ 43 h 88"/>
                  <a:gd name="T2" fmla="*/ 62 w 78"/>
                  <a:gd name="T3" fmla="*/ 52 h 88"/>
                  <a:gd name="T4" fmla="*/ 78 w 78"/>
                  <a:gd name="T5" fmla="*/ 0 h 88"/>
                  <a:gd name="T6" fmla="*/ 29 w 78"/>
                  <a:gd name="T7" fmla="*/ 17 h 88"/>
                  <a:gd name="T8" fmla="*/ 36 w 78"/>
                  <a:gd name="T9" fmla="*/ 29 h 88"/>
                  <a:gd name="T10" fmla="*/ 0 w 78"/>
                  <a:gd name="T11" fmla="*/ 59 h 88"/>
                  <a:gd name="T12" fmla="*/ 0 w 78"/>
                  <a:gd name="T13" fmla="*/ 88 h 88"/>
                  <a:gd name="T14" fmla="*/ 52 w 78"/>
                  <a:gd name="T15" fmla="*/ 43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8">
                    <a:moveTo>
                      <a:pt x="52" y="43"/>
                    </a:moveTo>
                    <a:lnTo>
                      <a:pt x="62" y="52"/>
                    </a:lnTo>
                    <a:lnTo>
                      <a:pt x="78" y="0"/>
                    </a:lnTo>
                    <a:lnTo>
                      <a:pt x="29" y="17"/>
                    </a:lnTo>
                    <a:lnTo>
                      <a:pt x="36" y="29"/>
                    </a:lnTo>
                    <a:lnTo>
                      <a:pt x="0" y="59"/>
                    </a:lnTo>
                    <a:lnTo>
                      <a:pt x="0" y="88"/>
                    </a:lnTo>
                    <a:lnTo>
                      <a:pt x="52" y="4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79">
                <a:extLst>
                  <a:ext uri="{FF2B5EF4-FFF2-40B4-BE49-F238E27FC236}">
                    <a16:creationId xmlns:a16="http://schemas.microsoft.com/office/drawing/2014/main" xmlns="" id="{31C0E547-CEC2-4944-BBD9-176733E5F8A4}"/>
                  </a:ext>
                </a:extLst>
              </p:cNvPr>
              <p:cNvSpPr>
                <a:spLocks/>
              </p:cNvSpPr>
              <p:nvPr/>
            </p:nvSpPr>
            <p:spPr bwMode="auto">
              <a:xfrm>
                <a:off x="8181976" y="5318125"/>
                <a:ext cx="139700" cy="420688"/>
              </a:xfrm>
              <a:custGeom>
                <a:avLst/>
                <a:gdLst>
                  <a:gd name="T0" fmla="*/ 14 w 37"/>
                  <a:gd name="T1" fmla="*/ 110 h 112"/>
                  <a:gd name="T2" fmla="*/ 14 w 37"/>
                  <a:gd name="T3" fmla="*/ 35 h 112"/>
                  <a:gd name="T4" fmla="*/ 0 w 37"/>
                  <a:gd name="T5" fmla="*/ 35 h 112"/>
                  <a:gd name="T6" fmla="*/ 17 w 37"/>
                  <a:gd name="T7" fmla="*/ 0 h 112"/>
                  <a:gd name="T8" fmla="*/ 37 w 37"/>
                  <a:gd name="T9" fmla="*/ 35 h 112"/>
                  <a:gd name="T10" fmla="*/ 24 w 37"/>
                  <a:gd name="T11" fmla="*/ 35 h 112"/>
                  <a:gd name="T12" fmla="*/ 24 w 37"/>
                  <a:gd name="T13" fmla="*/ 40 h 112"/>
                  <a:gd name="T14" fmla="*/ 24 w 37"/>
                  <a:gd name="T15" fmla="*/ 67 h 112"/>
                  <a:gd name="T16" fmla="*/ 24 w 37"/>
                  <a:gd name="T17" fmla="*/ 79 h 112"/>
                  <a:gd name="T18" fmla="*/ 24 w 37"/>
                  <a:gd name="T19" fmla="*/ 87 h 112"/>
                  <a:gd name="T20" fmla="*/ 24 w 37"/>
                  <a:gd name="T21" fmla="*/ 110 h 112"/>
                  <a:gd name="T22" fmla="*/ 22 w 37"/>
                  <a:gd name="T23" fmla="*/ 110 h 112"/>
                  <a:gd name="T24" fmla="*/ 16 w 37"/>
                  <a:gd name="T25" fmla="*/ 112 h 112"/>
                  <a:gd name="T26" fmla="*/ 14 w 37"/>
                  <a:gd name="T2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12">
                    <a:moveTo>
                      <a:pt x="14" y="110"/>
                    </a:moveTo>
                    <a:cubicBezTo>
                      <a:pt x="14" y="35"/>
                      <a:pt x="14" y="35"/>
                      <a:pt x="14" y="35"/>
                    </a:cubicBezTo>
                    <a:cubicBezTo>
                      <a:pt x="0" y="35"/>
                      <a:pt x="0" y="35"/>
                      <a:pt x="0" y="35"/>
                    </a:cubicBezTo>
                    <a:cubicBezTo>
                      <a:pt x="17" y="0"/>
                      <a:pt x="17" y="0"/>
                      <a:pt x="17" y="0"/>
                    </a:cubicBezTo>
                    <a:cubicBezTo>
                      <a:pt x="37" y="35"/>
                      <a:pt x="37" y="35"/>
                      <a:pt x="37" y="35"/>
                    </a:cubicBezTo>
                    <a:cubicBezTo>
                      <a:pt x="24" y="35"/>
                      <a:pt x="24" y="35"/>
                      <a:pt x="24" y="35"/>
                    </a:cubicBezTo>
                    <a:cubicBezTo>
                      <a:pt x="24" y="40"/>
                      <a:pt x="24" y="40"/>
                      <a:pt x="24" y="40"/>
                    </a:cubicBezTo>
                    <a:cubicBezTo>
                      <a:pt x="24" y="67"/>
                      <a:pt x="24" y="67"/>
                      <a:pt x="24" y="67"/>
                    </a:cubicBezTo>
                    <a:cubicBezTo>
                      <a:pt x="24" y="79"/>
                      <a:pt x="24" y="79"/>
                      <a:pt x="24" y="79"/>
                    </a:cubicBezTo>
                    <a:cubicBezTo>
                      <a:pt x="24" y="87"/>
                      <a:pt x="24" y="87"/>
                      <a:pt x="24" y="87"/>
                    </a:cubicBezTo>
                    <a:cubicBezTo>
                      <a:pt x="24" y="110"/>
                      <a:pt x="24" y="110"/>
                      <a:pt x="24" y="110"/>
                    </a:cubicBezTo>
                    <a:cubicBezTo>
                      <a:pt x="23" y="109"/>
                      <a:pt x="22" y="109"/>
                      <a:pt x="22" y="110"/>
                    </a:cubicBezTo>
                    <a:cubicBezTo>
                      <a:pt x="20" y="110"/>
                      <a:pt x="18" y="112"/>
                      <a:pt x="16" y="112"/>
                    </a:cubicBezTo>
                    <a:cubicBezTo>
                      <a:pt x="14" y="112"/>
                      <a:pt x="14" y="110"/>
                      <a:pt x="14"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e 8">
            <a:extLst>
              <a:ext uri="{FF2B5EF4-FFF2-40B4-BE49-F238E27FC236}">
                <a16:creationId xmlns:a16="http://schemas.microsoft.com/office/drawing/2014/main" xmlns="" id="{72E8406A-5489-4A7A-B1E6-BDE5FC19CFED}"/>
              </a:ext>
            </a:extLst>
          </p:cNvPr>
          <p:cNvGrpSpPr/>
          <p:nvPr/>
        </p:nvGrpSpPr>
        <p:grpSpPr>
          <a:xfrm>
            <a:off x="699296" y="2066501"/>
            <a:ext cx="10709653" cy="138499"/>
            <a:chOff x="677161" y="2133000"/>
            <a:chExt cx="10709653" cy="138499"/>
          </a:xfrm>
        </p:grpSpPr>
        <p:sp>
          <p:nvSpPr>
            <p:cNvPr id="27" name="Rectangle 225">
              <a:extLst>
                <a:ext uri="{FF2B5EF4-FFF2-40B4-BE49-F238E27FC236}">
                  <a16:creationId xmlns:a16="http://schemas.microsoft.com/office/drawing/2014/main" xmlns="" id="{E8FFE653-6EAA-4FB7-B73A-B9AB904BCD9C}"/>
                </a:ext>
              </a:extLst>
            </p:cNvPr>
            <p:cNvSpPr>
              <a:spLocks noChangeArrowheads="1"/>
            </p:cNvSpPr>
            <p:nvPr/>
          </p:nvSpPr>
          <p:spPr bwMode="auto">
            <a:xfrm>
              <a:off x="677161" y="2133000"/>
              <a:ext cx="25648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Bulb</a:t>
              </a:r>
              <a:endParaRPr kumimoji="0" lang="fr-FR" altLang="fr-FR" sz="1200" b="0" i="0" u="none" strike="noStrike" cap="none" normalizeH="0" baseline="0" dirty="0">
                <a:ln>
                  <a:noFill/>
                </a:ln>
                <a:solidFill>
                  <a:schemeClr val="tx1"/>
                </a:solidFill>
                <a:effectLst/>
                <a:latin typeface="+mj-lt"/>
              </a:endParaRPr>
            </a:p>
          </p:txBody>
        </p:sp>
        <p:sp>
          <p:nvSpPr>
            <p:cNvPr id="290" name="Rectangle 237">
              <a:extLst>
                <a:ext uri="{FF2B5EF4-FFF2-40B4-BE49-F238E27FC236}">
                  <a16:creationId xmlns:a16="http://schemas.microsoft.com/office/drawing/2014/main" xmlns="" id="{3B0E7012-A574-4F68-A030-156E34D3C237}"/>
                </a:ext>
              </a:extLst>
            </p:cNvPr>
            <p:cNvSpPr>
              <a:spLocks noChangeArrowheads="1"/>
            </p:cNvSpPr>
            <p:nvPr/>
          </p:nvSpPr>
          <p:spPr bwMode="auto">
            <a:xfrm>
              <a:off x="6220676" y="2133000"/>
              <a:ext cx="40395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Arrows</a:t>
              </a:r>
              <a:endParaRPr kumimoji="0" lang="fr-FR" altLang="fr-FR" sz="1200" b="0" i="0" u="none" strike="noStrike" cap="none" normalizeH="0" baseline="0">
                <a:ln>
                  <a:noFill/>
                </a:ln>
                <a:solidFill>
                  <a:schemeClr val="tx1"/>
                </a:solidFill>
                <a:effectLst/>
                <a:latin typeface="+mj-lt"/>
              </a:endParaRPr>
            </a:p>
          </p:txBody>
        </p:sp>
        <p:sp>
          <p:nvSpPr>
            <p:cNvPr id="291" name="Rectangle 277">
              <a:extLst>
                <a:ext uri="{FF2B5EF4-FFF2-40B4-BE49-F238E27FC236}">
                  <a16:creationId xmlns:a16="http://schemas.microsoft.com/office/drawing/2014/main" xmlns="" id="{E9DD42AC-E572-4A4B-BBBA-4AEE4E35DB16}"/>
                </a:ext>
              </a:extLst>
            </p:cNvPr>
            <p:cNvSpPr>
              <a:spLocks noChangeArrowheads="1"/>
            </p:cNvSpPr>
            <p:nvPr/>
          </p:nvSpPr>
          <p:spPr bwMode="auto">
            <a:xfrm>
              <a:off x="7127438" y="2133000"/>
              <a:ext cx="52097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irection</a:t>
              </a:r>
              <a:endParaRPr kumimoji="0" lang="fr-FR" altLang="fr-FR" sz="1200" b="0" i="0" u="none" strike="noStrike" cap="none" normalizeH="0" baseline="0" dirty="0">
                <a:ln>
                  <a:noFill/>
                </a:ln>
                <a:solidFill>
                  <a:schemeClr val="tx1"/>
                </a:solidFill>
                <a:effectLst/>
                <a:latin typeface="+mj-lt"/>
              </a:endParaRPr>
            </a:p>
          </p:txBody>
        </p:sp>
        <p:sp>
          <p:nvSpPr>
            <p:cNvPr id="297" name="Rectangle 242">
              <a:extLst>
                <a:ext uri="{FF2B5EF4-FFF2-40B4-BE49-F238E27FC236}">
                  <a16:creationId xmlns:a16="http://schemas.microsoft.com/office/drawing/2014/main" xmlns="" id="{1E4411B7-67EC-4462-A20A-1D5C976B9688}"/>
                </a:ext>
              </a:extLst>
            </p:cNvPr>
            <p:cNvSpPr>
              <a:spLocks noChangeArrowheads="1"/>
            </p:cNvSpPr>
            <p:nvPr/>
          </p:nvSpPr>
          <p:spPr bwMode="auto">
            <a:xfrm>
              <a:off x="10816145" y="2133000"/>
              <a:ext cx="5706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ownload</a:t>
              </a:r>
              <a:endParaRPr kumimoji="0" lang="fr-FR" altLang="fr-FR" sz="1200" b="0" i="0" u="none" strike="noStrike" cap="none" normalizeH="0" baseline="0" dirty="0">
                <a:ln>
                  <a:noFill/>
                </a:ln>
                <a:solidFill>
                  <a:schemeClr val="tx1"/>
                </a:solidFill>
                <a:effectLst/>
                <a:latin typeface="+mj-lt"/>
              </a:endParaRPr>
            </a:p>
          </p:txBody>
        </p:sp>
      </p:grpSp>
      <p:grpSp>
        <p:nvGrpSpPr>
          <p:cNvPr id="298" name="Groupe 297">
            <a:extLst>
              <a:ext uri="{FF2B5EF4-FFF2-40B4-BE49-F238E27FC236}">
                <a16:creationId xmlns:a16="http://schemas.microsoft.com/office/drawing/2014/main" xmlns="" id="{7E425B66-B060-422A-8FBD-FB6AD829E0FD}"/>
              </a:ext>
            </a:extLst>
          </p:cNvPr>
          <p:cNvGrpSpPr>
            <a:grpSpLocks noChangeAspect="1"/>
          </p:cNvGrpSpPr>
          <p:nvPr/>
        </p:nvGrpSpPr>
        <p:grpSpPr>
          <a:xfrm>
            <a:off x="7949253" y="1274501"/>
            <a:ext cx="770233" cy="720000"/>
            <a:chOff x="4490622" y="5219852"/>
            <a:chExt cx="949325" cy="887412"/>
          </a:xfrm>
        </p:grpSpPr>
        <p:sp>
          <p:nvSpPr>
            <p:cNvPr id="299" name="Freeform 197">
              <a:extLst>
                <a:ext uri="{FF2B5EF4-FFF2-40B4-BE49-F238E27FC236}">
                  <a16:creationId xmlns:a16="http://schemas.microsoft.com/office/drawing/2014/main" xmlns="" id="{1A02B0D8-DD81-4A77-A4D5-50EC79F78501}"/>
                </a:ext>
              </a:extLst>
            </p:cNvPr>
            <p:cNvSpPr>
              <a:spLocks noChangeAspect="1"/>
            </p:cNvSpPr>
            <p:nvPr/>
          </p:nvSpPr>
          <p:spPr bwMode="auto">
            <a:xfrm>
              <a:off x="4490622" y="5219852"/>
              <a:ext cx="949325" cy="887412"/>
            </a:xfrm>
            <a:custGeom>
              <a:avLst/>
              <a:gdLst>
                <a:gd name="T0" fmla="*/ 30 w 253"/>
                <a:gd name="T1" fmla="*/ 172 h 236"/>
                <a:gd name="T2" fmla="*/ 74 w 253"/>
                <a:gd name="T3" fmla="*/ 28 h 236"/>
                <a:gd name="T4" fmla="*/ 224 w 253"/>
                <a:gd name="T5" fmla="*/ 71 h 236"/>
                <a:gd name="T6" fmla="*/ 177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5" y="20"/>
                    <a:pt x="224" y="71"/>
                  </a:cubicBezTo>
                  <a:cubicBezTo>
                    <a:pt x="253" y="122"/>
                    <a:pt x="230" y="181"/>
                    <a:pt x="177" y="208"/>
                  </a:cubicBezTo>
                  <a:cubicBezTo>
                    <a:pt x="123" y="236"/>
                    <a:pt x="59" y="223"/>
                    <a:pt x="30" y="172"/>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300" name="Groupe 299">
              <a:extLst>
                <a:ext uri="{FF2B5EF4-FFF2-40B4-BE49-F238E27FC236}">
                  <a16:creationId xmlns:a16="http://schemas.microsoft.com/office/drawing/2014/main" xmlns="" id="{E8F2BF26-CFCE-404A-A6A8-B51516EDD819}"/>
                </a:ext>
              </a:extLst>
            </p:cNvPr>
            <p:cNvGrpSpPr/>
            <p:nvPr/>
          </p:nvGrpSpPr>
          <p:grpSpPr>
            <a:xfrm>
              <a:off x="4719222" y="5426227"/>
              <a:ext cx="544513" cy="488950"/>
              <a:chOff x="4719222" y="5426227"/>
              <a:chExt cx="544513" cy="488950"/>
            </a:xfrm>
          </p:grpSpPr>
          <p:sp>
            <p:nvSpPr>
              <p:cNvPr id="301" name="Freeform 198">
                <a:extLst>
                  <a:ext uri="{FF2B5EF4-FFF2-40B4-BE49-F238E27FC236}">
                    <a16:creationId xmlns:a16="http://schemas.microsoft.com/office/drawing/2014/main" xmlns=""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2" name="Freeform 199">
                <a:extLst>
                  <a:ext uri="{FF2B5EF4-FFF2-40B4-BE49-F238E27FC236}">
                    <a16:creationId xmlns:a16="http://schemas.microsoft.com/office/drawing/2014/main" xmlns=""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03" name="Freeform 200">
                <a:extLst>
                  <a:ext uri="{FF2B5EF4-FFF2-40B4-BE49-F238E27FC236}">
                    <a16:creationId xmlns:a16="http://schemas.microsoft.com/office/drawing/2014/main" xmlns=""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319" name="Groupe 318">
            <a:extLst>
              <a:ext uri="{FF2B5EF4-FFF2-40B4-BE49-F238E27FC236}">
                <a16:creationId xmlns:a16="http://schemas.microsoft.com/office/drawing/2014/main" xmlns="" id="{5EE6A411-356B-4BE4-B914-6D69F95978D6}"/>
              </a:ext>
            </a:extLst>
          </p:cNvPr>
          <p:cNvGrpSpPr>
            <a:grpSpLocks noChangeAspect="1"/>
          </p:cNvGrpSpPr>
          <p:nvPr/>
        </p:nvGrpSpPr>
        <p:grpSpPr>
          <a:xfrm>
            <a:off x="6957967" y="3935884"/>
            <a:ext cx="768838" cy="720000"/>
            <a:chOff x="2178400" y="3471952"/>
            <a:chExt cx="874713" cy="819150"/>
          </a:xfrm>
        </p:grpSpPr>
        <p:sp>
          <p:nvSpPr>
            <p:cNvPr id="320" name="Freeform 25">
              <a:extLst>
                <a:ext uri="{FF2B5EF4-FFF2-40B4-BE49-F238E27FC236}">
                  <a16:creationId xmlns:a16="http://schemas.microsoft.com/office/drawing/2014/main" xmlns="" id="{4867A0CF-57BE-428A-8358-48294F516D34}"/>
                </a:ext>
              </a:extLst>
            </p:cNvPr>
            <p:cNvSpPr>
              <a:spLocks/>
            </p:cNvSpPr>
            <p:nvPr/>
          </p:nvSpPr>
          <p:spPr bwMode="auto">
            <a:xfrm>
              <a:off x="2178400" y="3471952"/>
              <a:ext cx="874713" cy="819150"/>
            </a:xfrm>
            <a:custGeom>
              <a:avLst/>
              <a:gdLst>
                <a:gd name="T0" fmla="*/ 33 w 233"/>
                <a:gd name="T1" fmla="*/ 170 h 218"/>
                <a:gd name="T2" fmla="*/ 56 w 233"/>
                <a:gd name="T3" fmla="*/ 33 h 218"/>
                <a:gd name="T4" fmla="*/ 199 w 233"/>
                <a:gd name="T5" fmla="*/ 53 h 218"/>
                <a:gd name="T6" fmla="*/ 173 w 233"/>
                <a:gd name="T7" fmla="*/ 185 h 218"/>
                <a:gd name="T8" fmla="*/ 33 w 233"/>
                <a:gd name="T9" fmla="*/ 170 h 218"/>
              </a:gdLst>
              <a:ahLst/>
              <a:cxnLst>
                <a:cxn ang="0">
                  <a:pos x="T0" y="T1"/>
                </a:cxn>
                <a:cxn ang="0">
                  <a:pos x="T2" y="T3"/>
                </a:cxn>
                <a:cxn ang="0">
                  <a:pos x="T4" y="T5"/>
                </a:cxn>
                <a:cxn ang="0">
                  <a:pos x="T6" y="T7"/>
                </a:cxn>
                <a:cxn ang="0">
                  <a:pos x="T8" y="T9"/>
                </a:cxn>
              </a:cxnLst>
              <a:rect l="0" t="0" r="r" b="b"/>
              <a:pathLst>
                <a:path w="233" h="218">
                  <a:moveTo>
                    <a:pt x="33" y="170"/>
                  </a:moveTo>
                  <a:cubicBezTo>
                    <a:pt x="0" y="127"/>
                    <a:pt x="10" y="65"/>
                    <a:pt x="56" y="33"/>
                  </a:cubicBezTo>
                  <a:cubicBezTo>
                    <a:pt x="101" y="0"/>
                    <a:pt x="166" y="9"/>
                    <a:pt x="199" y="53"/>
                  </a:cubicBezTo>
                  <a:cubicBezTo>
                    <a:pt x="233" y="97"/>
                    <a:pt x="219" y="153"/>
                    <a:pt x="173" y="185"/>
                  </a:cubicBezTo>
                  <a:cubicBezTo>
                    <a:pt x="127" y="218"/>
                    <a:pt x="67" y="214"/>
                    <a:pt x="33" y="17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1" name="Groupe 320">
              <a:extLst>
                <a:ext uri="{FF2B5EF4-FFF2-40B4-BE49-F238E27FC236}">
                  <a16:creationId xmlns:a16="http://schemas.microsoft.com/office/drawing/2014/main" xmlns="" id="{646CEED1-3D4D-4EA5-9E4B-5355D6B8733B}"/>
                </a:ext>
              </a:extLst>
            </p:cNvPr>
            <p:cNvGrpSpPr/>
            <p:nvPr/>
          </p:nvGrpSpPr>
          <p:grpSpPr>
            <a:xfrm>
              <a:off x="2332387" y="3708489"/>
              <a:ext cx="571500" cy="361950"/>
              <a:chOff x="2332387" y="3708489"/>
              <a:chExt cx="571500" cy="361950"/>
            </a:xfrm>
          </p:grpSpPr>
          <p:sp>
            <p:nvSpPr>
              <p:cNvPr id="322" name="Freeform 26">
                <a:extLst>
                  <a:ext uri="{FF2B5EF4-FFF2-40B4-BE49-F238E27FC236}">
                    <a16:creationId xmlns:a16="http://schemas.microsoft.com/office/drawing/2014/main" xmlns="" id="{3C6F1247-100A-4212-B192-E3796EFD1FB5}"/>
                  </a:ext>
                </a:extLst>
              </p:cNvPr>
              <p:cNvSpPr>
                <a:spLocks/>
              </p:cNvSpPr>
              <p:nvPr/>
            </p:nvSpPr>
            <p:spPr bwMode="auto">
              <a:xfrm>
                <a:off x="2332387" y="3708489"/>
                <a:ext cx="571500" cy="361950"/>
              </a:xfrm>
              <a:custGeom>
                <a:avLst/>
                <a:gdLst>
                  <a:gd name="T0" fmla="*/ 138 w 152"/>
                  <a:gd name="T1" fmla="*/ 81 h 96"/>
                  <a:gd name="T2" fmla="*/ 126 w 152"/>
                  <a:gd name="T3" fmla="*/ 87 h 96"/>
                  <a:gd name="T4" fmla="*/ 0 w 152"/>
                  <a:gd name="T5" fmla="*/ 82 h 96"/>
                  <a:gd name="T6" fmla="*/ 2 w 152"/>
                  <a:gd name="T7" fmla="*/ 63 h 96"/>
                  <a:gd name="T8" fmla="*/ 6 w 152"/>
                  <a:gd name="T9" fmla="*/ 49 h 96"/>
                  <a:gd name="T10" fmla="*/ 6 w 152"/>
                  <a:gd name="T11" fmla="*/ 49 h 96"/>
                  <a:gd name="T12" fmla="*/ 57 w 152"/>
                  <a:gd name="T13" fmla="*/ 7 h 96"/>
                  <a:gd name="T14" fmla="*/ 127 w 152"/>
                  <a:gd name="T15" fmla="*/ 20 h 96"/>
                  <a:gd name="T16" fmla="*/ 127 w 152"/>
                  <a:gd name="T17" fmla="*/ 20 h 96"/>
                  <a:gd name="T18" fmla="*/ 148 w 152"/>
                  <a:gd name="T19" fmla="*/ 50 h 96"/>
                  <a:gd name="T20" fmla="*/ 148 w 152"/>
                  <a:gd name="T21" fmla="*/ 51 h 96"/>
                  <a:gd name="T22" fmla="*/ 138 w 152"/>
                  <a:gd name="T23" fmla="*/ 8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96">
                    <a:moveTo>
                      <a:pt x="138" y="81"/>
                    </a:moveTo>
                    <a:cubicBezTo>
                      <a:pt x="135" y="84"/>
                      <a:pt x="131" y="86"/>
                      <a:pt x="126" y="87"/>
                    </a:cubicBezTo>
                    <a:cubicBezTo>
                      <a:pt x="68" y="96"/>
                      <a:pt x="35" y="80"/>
                      <a:pt x="0" y="82"/>
                    </a:cubicBezTo>
                    <a:cubicBezTo>
                      <a:pt x="0" y="76"/>
                      <a:pt x="0" y="70"/>
                      <a:pt x="2" y="63"/>
                    </a:cubicBezTo>
                    <a:cubicBezTo>
                      <a:pt x="3" y="58"/>
                      <a:pt x="4" y="54"/>
                      <a:pt x="6" y="49"/>
                    </a:cubicBezTo>
                    <a:cubicBezTo>
                      <a:pt x="6" y="49"/>
                      <a:pt x="6" y="49"/>
                      <a:pt x="6" y="49"/>
                    </a:cubicBezTo>
                    <a:cubicBezTo>
                      <a:pt x="16" y="28"/>
                      <a:pt x="34" y="12"/>
                      <a:pt x="57" y="7"/>
                    </a:cubicBezTo>
                    <a:cubicBezTo>
                      <a:pt x="88" y="0"/>
                      <a:pt x="111" y="7"/>
                      <a:pt x="127" y="20"/>
                    </a:cubicBezTo>
                    <a:cubicBezTo>
                      <a:pt x="127" y="20"/>
                      <a:pt x="127" y="20"/>
                      <a:pt x="127" y="20"/>
                    </a:cubicBezTo>
                    <a:cubicBezTo>
                      <a:pt x="137" y="28"/>
                      <a:pt x="144" y="39"/>
                      <a:pt x="148" y="50"/>
                    </a:cubicBezTo>
                    <a:cubicBezTo>
                      <a:pt x="148" y="51"/>
                      <a:pt x="148" y="51"/>
                      <a:pt x="148" y="51"/>
                    </a:cubicBezTo>
                    <a:cubicBezTo>
                      <a:pt x="152" y="62"/>
                      <a:pt x="147" y="74"/>
                      <a:pt x="138" y="81"/>
                    </a:cubicBezTo>
                  </a:path>
                </a:pathLst>
              </a:custGeom>
              <a:solidFill>
                <a:srgbClr val="CB29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7">
                <a:extLst>
                  <a:ext uri="{FF2B5EF4-FFF2-40B4-BE49-F238E27FC236}">
                    <a16:creationId xmlns:a16="http://schemas.microsoft.com/office/drawing/2014/main" xmlns="" id="{E1702F98-659C-404C-83C5-DE39B4A5E5AE}"/>
                  </a:ext>
                </a:extLst>
              </p:cNvPr>
              <p:cNvSpPr>
                <a:spLocks noEditPoints="1"/>
              </p:cNvSpPr>
              <p:nvPr/>
            </p:nvSpPr>
            <p:spPr bwMode="auto">
              <a:xfrm>
                <a:off x="2411762" y="3792627"/>
                <a:ext cx="404813" cy="187325"/>
              </a:xfrm>
              <a:custGeom>
                <a:avLst/>
                <a:gdLst>
                  <a:gd name="T0" fmla="*/ 56 w 108"/>
                  <a:gd name="T1" fmla="*/ 40 h 50"/>
                  <a:gd name="T2" fmla="*/ 55 w 108"/>
                  <a:gd name="T3" fmla="*/ 41 h 50"/>
                  <a:gd name="T4" fmla="*/ 41 w 108"/>
                  <a:gd name="T5" fmla="*/ 50 h 50"/>
                  <a:gd name="T6" fmla="*/ 40 w 108"/>
                  <a:gd name="T7" fmla="*/ 50 h 50"/>
                  <a:gd name="T8" fmla="*/ 38 w 108"/>
                  <a:gd name="T9" fmla="*/ 50 h 50"/>
                  <a:gd name="T10" fmla="*/ 57 w 108"/>
                  <a:gd name="T11" fmla="*/ 38 h 50"/>
                  <a:gd name="T12" fmla="*/ 56 w 108"/>
                  <a:gd name="T13" fmla="*/ 40 h 50"/>
                  <a:gd name="T14" fmla="*/ 68 w 108"/>
                  <a:gd name="T15" fmla="*/ 50 h 50"/>
                  <a:gd name="T16" fmla="*/ 67 w 108"/>
                  <a:gd name="T17" fmla="*/ 50 h 50"/>
                  <a:gd name="T18" fmla="*/ 63 w 108"/>
                  <a:gd name="T19" fmla="*/ 45 h 50"/>
                  <a:gd name="T20" fmla="*/ 63 w 108"/>
                  <a:gd name="T21" fmla="*/ 43 h 50"/>
                  <a:gd name="T22" fmla="*/ 64 w 108"/>
                  <a:gd name="T23" fmla="*/ 42 h 50"/>
                  <a:gd name="T24" fmla="*/ 69 w 108"/>
                  <a:gd name="T25" fmla="*/ 50 h 50"/>
                  <a:gd name="T26" fmla="*/ 68 w 108"/>
                  <a:gd name="T27" fmla="*/ 50 h 50"/>
                  <a:gd name="T28" fmla="*/ 107 w 108"/>
                  <a:gd name="T29" fmla="*/ 50 h 50"/>
                  <a:gd name="T30" fmla="*/ 76 w 108"/>
                  <a:gd name="T31" fmla="*/ 50 h 50"/>
                  <a:gd name="T32" fmla="*/ 75 w 108"/>
                  <a:gd name="T33" fmla="*/ 49 h 50"/>
                  <a:gd name="T34" fmla="*/ 67 w 108"/>
                  <a:gd name="T35" fmla="*/ 37 h 50"/>
                  <a:gd name="T36" fmla="*/ 66 w 108"/>
                  <a:gd name="T37" fmla="*/ 37 h 50"/>
                  <a:gd name="T38" fmla="*/ 75 w 108"/>
                  <a:gd name="T39" fmla="*/ 19 h 50"/>
                  <a:gd name="T40" fmla="*/ 76 w 108"/>
                  <a:gd name="T41" fmla="*/ 17 h 50"/>
                  <a:gd name="T42" fmla="*/ 74 w 108"/>
                  <a:gd name="T43" fmla="*/ 12 h 50"/>
                  <a:gd name="T44" fmla="*/ 69 w 108"/>
                  <a:gd name="T45" fmla="*/ 14 h 50"/>
                  <a:gd name="T46" fmla="*/ 68 w 108"/>
                  <a:gd name="T47" fmla="*/ 15 h 50"/>
                  <a:gd name="T48" fmla="*/ 60 w 108"/>
                  <a:gd name="T49" fmla="*/ 32 h 50"/>
                  <a:gd name="T50" fmla="*/ 58 w 108"/>
                  <a:gd name="T51" fmla="*/ 33 h 50"/>
                  <a:gd name="T52" fmla="*/ 34 w 108"/>
                  <a:gd name="T53" fmla="*/ 46 h 50"/>
                  <a:gd name="T54" fmla="*/ 32 w 108"/>
                  <a:gd name="T55" fmla="*/ 50 h 50"/>
                  <a:gd name="T56" fmla="*/ 0 w 108"/>
                  <a:gd name="T57" fmla="*/ 50 h 50"/>
                  <a:gd name="T58" fmla="*/ 13 w 108"/>
                  <a:gd name="T59" fmla="*/ 19 h 50"/>
                  <a:gd name="T60" fmla="*/ 15 w 108"/>
                  <a:gd name="T61" fmla="*/ 21 h 50"/>
                  <a:gd name="T62" fmla="*/ 21 w 108"/>
                  <a:gd name="T63" fmla="*/ 22 h 50"/>
                  <a:gd name="T64" fmla="*/ 21 w 108"/>
                  <a:gd name="T65" fmla="*/ 16 h 50"/>
                  <a:gd name="T66" fmla="*/ 18 w 108"/>
                  <a:gd name="T67" fmla="*/ 13 h 50"/>
                  <a:gd name="T68" fmla="*/ 50 w 108"/>
                  <a:gd name="T69" fmla="*/ 0 h 50"/>
                  <a:gd name="T70" fmla="*/ 50 w 108"/>
                  <a:gd name="T71" fmla="*/ 5 h 50"/>
                  <a:gd name="T72" fmla="*/ 54 w 108"/>
                  <a:gd name="T73" fmla="*/ 9 h 50"/>
                  <a:gd name="T74" fmla="*/ 58 w 108"/>
                  <a:gd name="T75" fmla="*/ 5 h 50"/>
                  <a:gd name="T76" fmla="*/ 58 w 108"/>
                  <a:gd name="T77" fmla="*/ 2 h 50"/>
                  <a:gd name="T78" fmla="*/ 58 w 108"/>
                  <a:gd name="T79" fmla="*/ 0 h 50"/>
                  <a:gd name="T80" fmla="*/ 89 w 108"/>
                  <a:gd name="T81" fmla="*/ 13 h 50"/>
                  <a:gd name="T82" fmla="*/ 87 w 108"/>
                  <a:gd name="T83" fmla="*/ 16 h 50"/>
                  <a:gd name="T84" fmla="*/ 86 w 108"/>
                  <a:gd name="T85" fmla="*/ 22 h 50"/>
                  <a:gd name="T86" fmla="*/ 92 w 108"/>
                  <a:gd name="T87" fmla="*/ 21 h 50"/>
                  <a:gd name="T88" fmla="*/ 95 w 108"/>
                  <a:gd name="T89" fmla="*/ 19 h 50"/>
                  <a:gd name="T90" fmla="*/ 108 w 108"/>
                  <a:gd name="T91" fmla="*/ 50 h 50"/>
                  <a:gd name="T92" fmla="*/ 107 w 108"/>
                  <a:gd name="T9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 h="50">
                    <a:moveTo>
                      <a:pt x="56" y="40"/>
                    </a:moveTo>
                    <a:cubicBezTo>
                      <a:pt x="56" y="40"/>
                      <a:pt x="55" y="41"/>
                      <a:pt x="55" y="41"/>
                    </a:cubicBezTo>
                    <a:cubicBezTo>
                      <a:pt x="48" y="40"/>
                      <a:pt x="43" y="44"/>
                      <a:pt x="41" y="50"/>
                    </a:cubicBezTo>
                    <a:cubicBezTo>
                      <a:pt x="41" y="50"/>
                      <a:pt x="40" y="50"/>
                      <a:pt x="40" y="50"/>
                    </a:cubicBezTo>
                    <a:cubicBezTo>
                      <a:pt x="39" y="50"/>
                      <a:pt x="39" y="50"/>
                      <a:pt x="38" y="50"/>
                    </a:cubicBezTo>
                    <a:cubicBezTo>
                      <a:pt x="40" y="42"/>
                      <a:pt x="49" y="37"/>
                      <a:pt x="57" y="38"/>
                    </a:cubicBezTo>
                    <a:cubicBezTo>
                      <a:pt x="56" y="39"/>
                      <a:pt x="56" y="40"/>
                      <a:pt x="56" y="40"/>
                    </a:cubicBezTo>
                    <a:moveTo>
                      <a:pt x="68" y="50"/>
                    </a:moveTo>
                    <a:cubicBezTo>
                      <a:pt x="67" y="50"/>
                      <a:pt x="67" y="50"/>
                      <a:pt x="67" y="50"/>
                    </a:cubicBezTo>
                    <a:cubicBezTo>
                      <a:pt x="65" y="48"/>
                      <a:pt x="64" y="46"/>
                      <a:pt x="63" y="45"/>
                    </a:cubicBezTo>
                    <a:cubicBezTo>
                      <a:pt x="63" y="44"/>
                      <a:pt x="63" y="44"/>
                      <a:pt x="63" y="43"/>
                    </a:cubicBezTo>
                    <a:cubicBezTo>
                      <a:pt x="63" y="43"/>
                      <a:pt x="64" y="42"/>
                      <a:pt x="64" y="42"/>
                    </a:cubicBezTo>
                    <a:cubicBezTo>
                      <a:pt x="67" y="44"/>
                      <a:pt x="68" y="47"/>
                      <a:pt x="69" y="50"/>
                    </a:cubicBezTo>
                    <a:cubicBezTo>
                      <a:pt x="69" y="50"/>
                      <a:pt x="68" y="50"/>
                      <a:pt x="68" y="50"/>
                    </a:cubicBezTo>
                    <a:moveTo>
                      <a:pt x="107" y="50"/>
                    </a:moveTo>
                    <a:cubicBezTo>
                      <a:pt x="96" y="50"/>
                      <a:pt x="86" y="50"/>
                      <a:pt x="76" y="50"/>
                    </a:cubicBezTo>
                    <a:cubicBezTo>
                      <a:pt x="75" y="50"/>
                      <a:pt x="75" y="50"/>
                      <a:pt x="75" y="49"/>
                    </a:cubicBezTo>
                    <a:cubicBezTo>
                      <a:pt x="73" y="44"/>
                      <a:pt x="71" y="40"/>
                      <a:pt x="67" y="37"/>
                    </a:cubicBezTo>
                    <a:cubicBezTo>
                      <a:pt x="67" y="37"/>
                      <a:pt x="66" y="37"/>
                      <a:pt x="66" y="37"/>
                    </a:cubicBezTo>
                    <a:cubicBezTo>
                      <a:pt x="69" y="31"/>
                      <a:pt x="72" y="25"/>
                      <a:pt x="75" y="19"/>
                    </a:cubicBezTo>
                    <a:cubicBezTo>
                      <a:pt x="75" y="18"/>
                      <a:pt x="76" y="18"/>
                      <a:pt x="76" y="17"/>
                    </a:cubicBezTo>
                    <a:cubicBezTo>
                      <a:pt x="76" y="15"/>
                      <a:pt x="76" y="13"/>
                      <a:pt x="74" y="12"/>
                    </a:cubicBezTo>
                    <a:cubicBezTo>
                      <a:pt x="72" y="12"/>
                      <a:pt x="70" y="12"/>
                      <a:pt x="69" y="14"/>
                    </a:cubicBezTo>
                    <a:cubicBezTo>
                      <a:pt x="69" y="14"/>
                      <a:pt x="68" y="15"/>
                      <a:pt x="68" y="15"/>
                    </a:cubicBezTo>
                    <a:cubicBezTo>
                      <a:pt x="65" y="21"/>
                      <a:pt x="62" y="26"/>
                      <a:pt x="60" y="32"/>
                    </a:cubicBezTo>
                    <a:cubicBezTo>
                      <a:pt x="59" y="33"/>
                      <a:pt x="59" y="33"/>
                      <a:pt x="58" y="33"/>
                    </a:cubicBezTo>
                    <a:cubicBezTo>
                      <a:pt x="47" y="31"/>
                      <a:pt x="38" y="37"/>
                      <a:pt x="34" y="46"/>
                    </a:cubicBezTo>
                    <a:cubicBezTo>
                      <a:pt x="33" y="48"/>
                      <a:pt x="33" y="49"/>
                      <a:pt x="32" y="50"/>
                    </a:cubicBezTo>
                    <a:cubicBezTo>
                      <a:pt x="0" y="50"/>
                      <a:pt x="0" y="50"/>
                      <a:pt x="0" y="50"/>
                    </a:cubicBezTo>
                    <a:cubicBezTo>
                      <a:pt x="1" y="38"/>
                      <a:pt x="5" y="28"/>
                      <a:pt x="13" y="19"/>
                    </a:cubicBezTo>
                    <a:cubicBezTo>
                      <a:pt x="14" y="20"/>
                      <a:pt x="14" y="20"/>
                      <a:pt x="15" y="21"/>
                    </a:cubicBezTo>
                    <a:cubicBezTo>
                      <a:pt x="17" y="23"/>
                      <a:pt x="19" y="23"/>
                      <a:pt x="21" y="22"/>
                    </a:cubicBezTo>
                    <a:cubicBezTo>
                      <a:pt x="23" y="20"/>
                      <a:pt x="22" y="18"/>
                      <a:pt x="21" y="16"/>
                    </a:cubicBezTo>
                    <a:cubicBezTo>
                      <a:pt x="20" y="15"/>
                      <a:pt x="19" y="14"/>
                      <a:pt x="18" y="13"/>
                    </a:cubicBezTo>
                    <a:cubicBezTo>
                      <a:pt x="27" y="6"/>
                      <a:pt x="38" y="1"/>
                      <a:pt x="50" y="0"/>
                    </a:cubicBezTo>
                    <a:cubicBezTo>
                      <a:pt x="50" y="2"/>
                      <a:pt x="50" y="3"/>
                      <a:pt x="50" y="5"/>
                    </a:cubicBezTo>
                    <a:cubicBezTo>
                      <a:pt x="50" y="7"/>
                      <a:pt x="52" y="9"/>
                      <a:pt x="54" y="9"/>
                    </a:cubicBezTo>
                    <a:cubicBezTo>
                      <a:pt x="56" y="9"/>
                      <a:pt x="57" y="7"/>
                      <a:pt x="58" y="5"/>
                    </a:cubicBezTo>
                    <a:cubicBezTo>
                      <a:pt x="58" y="4"/>
                      <a:pt x="58" y="3"/>
                      <a:pt x="58" y="2"/>
                    </a:cubicBezTo>
                    <a:cubicBezTo>
                      <a:pt x="58" y="0"/>
                      <a:pt x="58" y="0"/>
                      <a:pt x="58" y="0"/>
                    </a:cubicBezTo>
                    <a:cubicBezTo>
                      <a:pt x="70" y="1"/>
                      <a:pt x="80" y="6"/>
                      <a:pt x="89" y="13"/>
                    </a:cubicBezTo>
                    <a:cubicBezTo>
                      <a:pt x="88" y="14"/>
                      <a:pt x="87" y="15"/>
                      <a:pt x="87" y="16"/>
                    </a:cubicBezTo>
                    <a:cubicBezTo>
                      <a:pt x="85" y="18"/>
                      <a:pt x="85" y="20"/>
                      <a:pt x="86" y="22"/>
                    </a:cubicBezTo>
                    <a:cubicBezTo>
                      <a:pt x="88" y="23"/>
                      <a:pt x="90" y="23"/>
                      <a:pt x="92" y="21"/>
                    </a:cubicBezTo>
                    <a:cubicBezTo>
                      <a:pt x="93" y="21"/>
                      <a:pt x="94" y="20"/>
                      <a:pt x="95" y="19"/>
                    </a:cubicBezTo>
                    <a:cubicBezTo>
                      <a:pt x="102" y="28"/>
                      <a:pt x="107" y="38"/>
                      <a:pt x="108" y="50"/>
                    </a:cubicBezTo>
                    <a:cubicBezTo>
                      <a:pt x="107" y="50"/>
                      <a:pt x="107" y="50"/>
                      <a:pt x="107" y="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26" name="Groupe 325">
            <a:extLst>
              <a:ext uri="{FF2B5EF4-FFF2-40B4-BE49-F238E27FC236}">
                <a16:creationId xmlns:a16="http://schemas.microsoft.com/office/drawing/2014/main" xmlns="" id="{9BE29102-54B9-4AEA-BC61-2A54C2E922AD}"/>
              </a:ext>
            </a:extLst>
          </p:cNvPr>
          <p:cNvGrpSpPr>
            <a:grpSpLocks noChangeAspect="1"/>
          </p:cNvGrpSpPr>
          <p:nvPr/>
        </p:nvGrpSpPr>
        <p:grpSpPr>
          <a:xfrm>
            <a:off x="10721156" y="3935884"/>
            <a:ext cx="774844" cy="720000"/>
            <a:chOff x="6088064" y="2103437"/>
            <a:chExt cx="874713" cy="812800"/>
          </a:xfrm>
        </p:grpSpPr>
        <p:sp>
          <p:nvSpPr>
            <p:cNvPr id="327" name="Freeform 105">
              <a:extLst>
                <a:ext uri="{FF2B5EF4-FFF2-40B4-BE49-F238E27FC236}">
                  <a16:creationId xmlns:a16="http://schemas.microsoft.com/office/drawing/2014/main" xmlns="" id="{7F340156-B45A-4C09-8271-4C5793C4A4AF}"/>
                </a:ext>
              </a:extLst>
            </p:cNvPr>
            <p:cNvSpPr>
              <a:spLocks/>
            </p:cNvSpPr>
            <p:nvPr/>
          </p:nvSpPr>
          <p:spPr bwMode="auto">
            <a:xfrm>
              <a:off x="6088064" y="2103437"/>
              <a:ext cx="874713" cy="812800"/>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8" name="Groupe 327">
              <a:extLst>
                <a:ext uri="{FF2B5EF4-FFF2-40B4-BE49-F238E27FC236}">
                  <a16:creationId xmlns:a16="http://schemas.microsoft.com/office/drawing/2014/main" xmlns="" id="{CF1F2993-312D-4329-B71E-DB838931493F}"/>
                </a:ext>
              </a:extLst>
            </p:cNvPr>
            <p:cNvGrpSpPr/>
            <p:nvPr/>
          </p:nvGrpSpPr>
          <p:grpSpPr>
            <a:xfrm>
              <a:off x="6365876" y="2306637"/>
              <a:ext cx="314325" cy="412750"/>
              <a:chOff x="6365876" y="2306637"/>
              <a:chExt cx="314325" cy="412750"/>
            </a:xfrm>
          </p:grpSpPr>
          <p:sp>
            <p:nvSpPr>
              <p:cNvPr id="329" name="Freeform 120">
                <a:extLst>
                  <a:ext uri="{FF2B5EF4-FFF2-40B4-BE49-F238E27FC236}">
                    <a16:creationId xmlns:a16="http://schemas.microsoft.com/office/drawing/2014/main" xmlns="" id="{9003FB2B-9074-4643-A02A-56EBCAFDACC6}"/>
                  </a:ext>
                </a:extLst>
              </p:cNvPr>
              <p:cNvSpPr>
                <a:spLocks/>
              </p:cNvSpPr>
              <p:nvPr/>
            </p:nvSpPr>
            <p:spPr bwMode="auto">
              <a:xfrm>
                <a:off x="6365876" y="2306637"/>
                <a:ext cx="314325" cy="412750"/>
              </a:xfrm>
              <a:custGeom>
                <a:avLst/>
                <a:gdLst>
                  <a:gd name="T0" fmla="*/ 84 w 84"/>
                  <a:gd name="T1" fmla="*/ 15 h 110"/>
                  <a:gd name="T2" fmla="*/ 84 w 84"/>
                  <a:gd name="T3" fmla="*/ 51 h 110"/>
                  <a:gd name="T4" fmla="*/ 60 w 84"/>
                  <a:gd name="T5" fmla="*/ 100 h 110"/>
                  <a:gd name="T6" fmla="*/ 42 w 84"/>
                  <a:gd name="T7" fmla="*/ 110 h 110"/>
                  <a:gd name="T8" fmla="*/ 24 w 84"/>
                  <a:gd name="T9" fmla="*/ 100 h 110"/>
                  <a:gd name="T10" fmla="*/ 0 w 84"/>
                  <a:gd name="T11" fmla="*/ 51 h 110"/>
                  <a:gd name="T12" fmla="*/ 0 w 84"/>
                  <a:gd name="T13" fmla="*/ 15 h 110"/>
                  <a:gd name="T14" fmla="*/ 42 w 84"/>
                  <a:gd name="T15" fmla="*/ 0 h 110"/>
                  <a:gd name="T16" fmla="*/ 84 w 84"/>
                  <a:gd name="T17" fmla="*/ 1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0">
                    <a:moveTo>
                      <a:pt x="84" y="15"/>
                    </a:moveTo>
                    <a:cubicBezTo>
                      <a:pt x="84" y="51"/>
                      <a:pt x="84" y="51"/>
                      <a:pt x="84" y="51"/>
                    </a:cubicBezTo>
                    <a:cubicBezTo>
                      <a:pt x="84" y="70"/>
                      <a:pt x="75" y="89"/>
                      <a:pt x="60" y="100"/>
                    </a:cubicBezTo>
                    <a:cubicBezTo>
                      <a:pt x="55" y="105"/>
                      <a:pt x="48" y="108"/>
                      <a:pt x="42" y="110"/>
                    </a:cubicBezTo>
                    <a:cubicBezTo>
                      <a:pt x="35" y="108"/>
                      <a:pt x="29" y="105"/>
                      <a:pt x="24" y="100"/>
                    </a:cubicBezTo>
                    <a:cubicBezTo>
                      <a:pt x="9" y="89"/>
                      <a:pt x="0" y="70"/>
                      <a:pt x="0" y="51"/>
                    </a:cubicBezTo>
                    <a:cubicBezTo>
                      <a:pt x="0" y="15"/>
                      <a:pt x="0" y="15"/>
                      <a:pt x="0" y="15"/>
                    </a:cubicBezTo>
                    <a:cubicBezTo>
                      <a:pt x="25" y="14"/>
                      <a:pt x="38" y="4"/>
                      <a:pt x="42" y="0"/>
                    </a:cubicBezTo>
                    <a:cubicBezTo>
                      <a:pt x="46" y="4"/>
                      <a:pt x="59" y="14"/>
                      <a:pt x="84"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21">
                <a:extLst>
                  <a:ext uri="{FF2B5EF4-FFF2-40B4-BE49-F238E27FC236}">
                    <a16:creationId xmlns:a16="http://schemas.microsoft.com/office/drawing/2014/main" xmlns="" id="{40B49E4B-3C4C-4676-8F9D-5F6572242957}"/>
                  </a:ext>
                </a:extLst>
              </p:cNvPr>
              <p:cNvSpPr>
                <a:spLocks noEditPoints="1"/>
              </p:cNvSpPr>
              <p:nvPr/>
            </p:nvSpPr>
            <p:spPr bwMode="auto">
              <a:xfrm>
                <a:off x="6391276" y="2333625"/>
                <a:ext cx="260350" cy="360363"/>
              </a:xfrm>
              <a:custGeom>
                <a:avLst/>
                <a:gdLst>
                  <a:gd name="T0" fmla="*/ 35 w 69"/>
                  <a:gd name="T1" fmla="*/ 0 h 96"/>
                  <a:gd name="T2" fmla="*/ 0 w 69"/>
                  <a:gd name="T3" fmla="*/ 13 h 96"/>
                  <a:gd name="T4" fmla="*/ 0 w 69"/>
                  <a:gd name="T5" fmla="*/ 42 h 96"/>
                  <a:gd name="T6" fmla="*/ 22 w 69"/>
                  <a:gd name="T7" fmla="*/ 88 h 96"/>
                  <a:gd name="T8" fmla="*/ 35 w 69"/>
                  <a:gd name="T9" fmla="*/ 96 h 96"/>
                  <a:gd name="T10" fmla="*/ 48 w 69"/>
                  <a:gd name="T11" fmla="*/ 88 h 96"/>
                  <a:gd name="T12" fmla="*/ 69 w 69"/>
                  <a:gd name="T13" fmla="*/ 42 h 96"/>
                  <a:gd name="T14" fmla="*/ 69 w 69"/>
                  <a:gd name="T15" fmla="*/ 13 h 96"/>
                  <a:gd name="T16" fmla="*/ 35 w 69"/>
                  <a:gd name="T17" fmla="*/ 0 h 96"/>
                  <a:gd name="T18" fmla="*/ 48 w 69"/>
                  <a:gd name="T19" fmla="*/ 68 h 96"/>
                  <a:gd name="T20" fmla="*/ 46 w 69"/>
                  <a:gd name="T21" fmla="*/ 69 h 96"/>
                  <a:gd name="T22" fmla="*/ 23 w 69"/>
                  <a:gd name="T23" fmla="*/ 69 h 96"/>
                  <a:gd name="T24" fmla="*/ 22 w 69"/>
                  <a:gd name="T25" fmla="*/ 68 h 96"/>
                  <a:gd name="T26" fmla="*/ 21 w 69"/>
                  <a:gd name="T27" fmla="*/ 66 h 96"/>
                  <a:gd name="T28" fmla="*/ 27 w 69"/>
                  <a:gd name="T29" fmla="*/ 43 h 96"/>
                  <a:gd name="T30" fmla="*/ 23 w 69"/>
                  <a:gd name="T31" fmla="*/ 35 h 96"/>
                  <a:gd name="T32" fmla="*/ 35 w 69"/>
                  <a:gd name="T33" fmla="*/ 23 h 96"/>
                  <a:gd name="T34" fmla="*/ 46 w 69"/>
                  <a:gd name="T35" fmla="*/ 35 h 96"/>
                  <a:gd name="T36" fmla="*/ 43 w 69"/>
                  <a:gd name="T37" fmla="*/ 43 h 96"/>
                  <a:gd name="T38" fmla="*/ 49 w 69"/>
                  <a:gd name="T39" fmla="*/ 66 h 96"/>
                  <a:gd name="T40" fmla="*/ 48 w 69"/>
                  <a:gd name="T41"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96">
                    <a:moveTo>
                      <a:pt x="35" y="0"/>
                    </a:moveTo>
                    <a:cubicBezTo>
                      <a:pt x="28" y="5"/>
                      <a:pt x="16" y="10"/>
                      <a:pt x="0" y="13"/>
                    </a:cubicBezTo>
                    <a:cubicBezTo>
                      <a:pt x="0" y="42"/>
                      <a:pt x="0" y="42"/>
                      <a:pt x="0" y="42"/>
                    </a:cubicBezTo>
                    <a:cubicBezTo>
                      <a:pt x="0" y="60"/>
                      <a:pt x="9" y="78"/>
                      <a:pt x="22" y="88"/>
                    </a:cubicBezTo>
                    <a:cubicBezTo>
                      <a:pt x="26" y="91"/>
                      <a:pt x="31" y="94"/>
                      <a:pt x="35" y="96"/>
                    </a:cubicBezTo>
                    <a:cubicBezTo>
                      <a:pt x="39" y="94"/>
                      <a:pt x="44" y="91"/>
                      <a:pt x="48" y="88"/>
                    </a:cubicBezTo>
                    <a:cubicBezTo>
                      <a:pt x="61" y="78"/>
                      <a:pt x="69" y="60"/>
                      <a:pt x="69" y="42"/>
                    </a:cubicBezTo>
                    <a:cubicBezTo>
                      <a:pt x="69" y="13"/>
                      <a:pt x="69" y="13"/>
                      <a:pt x="69" y="13"/>
                    </a:cubicBezTo>
                    <a:cubicBezTo>
                      <a:pt x="54" y="10"/>
                      <a:pt x="42" y="5"/>
                      <a:pt x="35" y="0"/>
                    </a:cubicBezTo>
                    <a:close/>
                    <a:moveTo>
                      <a:pt x="48" y="68"/>
                    </a:moveTo>
                    <a:cubicBezTo>
                      <a:pt x="48" y="69"/>
                      <a:pt x="47" y="69"/>
                      <a:pt x="46" y="69"/>
                    </a:cubicBezTo>
                    <a:cubicBezTo>
                      <a:pt x="23" y="69"/>
                      <a:pt x="23" y="69"/>
                      <a:pt x="23" y="69"/>
                    </a:cubicBezTo>
                    <a:cubicBezTo>
                      <a:pt x="23" y="69"/>
                      <a:pt x="22" y="69"/>
                      <a:pt x="22" y="68"/>
                    </a:cubicBezTo>
                    <a:cubicBezTo>
                      <a:pt x="21" y="68"/>
                      <a:pt x="21" y="67"/>
                      <a:pt x="21" y="66"/>
                    </a:cubicBezTo>
                    <a:cubicBezTo>
                      <a:pt x="27" y="43"/>
                      <a:pt x="27" y="43"/>
                      <a:pt x="27" y="43"/>
                    </a:cubicBezTo>
                    <a:cubicBezTo>
                      <a:pt x="25" y="41"/>
                      <a:pt x="23" y="38"/>
                      <a:pt x="23" y="35"/>
                    </a:cubicBezTo>
                    <a:cubicBezTo>
                      <a:pt x="23" y="28"/>
                      <a:pt x="29" y="23"/>
                      <a:pt x="35" y="23"/>
                    </a:cubicBezTo>
                    <a:cubicBezTo>
                      <a:pt x="41" y="23"/>
                      <a:pt x="46" y="28"/>
                      <a:pt x="46" y="35"/>
                    </a:cubicBezTo>
                    <a:cubicBezTo>
                      <a:pt x="46" y="38"/>
                      <a:pt x="45" y="41"/>
                      <a:pt x="43" y="43"/>
                    </a:cubicBezTo>
                    <a:cubicBezTo>
                      <a:pt x="49" y="66"/>
                      <a:pt x="49" y="66"/>
                      <a:pt x="49" y="66"/>
                    </a:cubicBezTo>
                    <a:cubicBezTo>
                      <a:pt x="49" y="67"/>
                      <a:pt x="49" y="68"/>
                      <a:pt x="48" y="68"/>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8" name="Groupe 497">
            <a:extLst>
              <a:ext uri="{FF2B5EF4-FFF2-40B4-BE49-F238E27FC236}">
                <a16:creationId xmlns:a16="http://schemas.microsoft.com/office/drawing/2014/main" xmlns="" id="{DB080EC7-F9B4-4981-844A-62D141797C27}"/>
              </a:ext>
            </a:extLst>
          </p:cNvPr>
          <p:cNvGrpSpPr>
            <a:grpSpLocks noChangeAspect="1"/>
          </p:cNvGrpSpPr>
          <p:nvPr/>
        </p:nvGrpSpPr>
        <p:grpSpPr>
          <a:xfrm>
            <a:off x="8891912" y="1274501"/>
            <a:ext cx="718618" cy="720000"/>
            <a:chOff x="5099051" y="1773238"/>
            <a:chExt cx="825500" cy="827088"/>
          </a:xfrm>
        </p:grpSpPr>
        <p:sp>
          <p:nvSpPr>
            <p:cNvPr id="499" name="Oval 143">
              <a:extLst>
                <a:ext uri="{FF2B5EF4-FFF2-40B4-BE49-F238E27FC236}">
                  <a16:creationId xmlns:a16="http://schemas.microsoft.com/office/drawing/2014/main" xmlns="" id="{70443B66-DA94-4A36-8B32-4DC3B693F001}"/>
                </a:ext>
              </a:extLst>
            </p:cNvPr>
            <p:cNvSpPr>
              <a:spLocks noChangeArrowheads="1"/>
            </p:cNvSpPr>
            <p:nvPr/>
          </p:nvSpPr>
          <p:spPr bwMode="auto">
            <a:xfrm>
              <a:off x="5099051" y="1773238"/>
              <a:ext cx="825500" cy="827088"/>
            </a:xfrm>
            <a:prstGeom prst="ellipse">
              <a:avLst/>
            </a:pr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0" name="Groupe 499">
              <a:extLst>
                <a:ext uri="{FF2B5EF4-FFF2-40B4-BE49-F238E27FC236}">
                  <a16:creationId xmlns:a16="http://schemas.microsoft.com/office/drawing/2014/main" xmlns="" id="{10890DE7-F053-4DB7-AB64-6D00CF9FB26A}"/>
                </a:ext>
              </a:extLst>
            </p:cNvPr>
            <p:cNvGrpSpPr/>
            <p:nvPr/>
          </p:nvGrpSpPr>
          <p:grpSpPr>
            <a:xfrm>
              <a:off x="5305426" y="1963738"/>
              <a:ext cx="428625" cy="385763"/>
              <a:chOff x="5305426" y="1963738"/>
              <a:chExt cx="428625" cy="385763"/>
            </a:xfrm>
          </p:grpSpPr>
          <p:sp>
            <p:nvSpPr>
              <p:cNvPr id="504" name="Freeform 144">
                <a:extLst>
                  <a:ext uri="{FF2B5EF4-FFF2-40B4-BE49-F238E27FC236}">
                    <a16:creationId xmlns:a16="http://schemas.microsoft.com/office/drawing/2014/main" xmlns="" id="{D3134A60-E473-4EBA-AA81-E9E37EF69730}"/>
                  </a:ext>
                </a:extLst>
              </p:cNvPr>
              <p:cNvSpPr>
                <a:spLocks/>
              </p:cNvSpPr>
              <p:nvPr/>
            </p:nvSpPr>
            <p:spPr bwMode="auto">
              <a:xfrm>
                <a:off x="5589588" y="2265363"/>
                <a:ext cx="144463" cy="84138"/>
              </a:xfrm>
              <a:custGeom>
                <a:avLst/>
                <a:gdLst>
                  <a:gd name="T0" fmla="*/ 17 w 43"/>
                  <a:gd name="T1" fmla="*/ 5 h 25"/>
                  <a:gd name="T2" fmla="*/ 30 w 43"/>
                  <a:gd name="T3" fmla="*/ 5 h 25"/>
                  <a:gd name="T4" fmla="*/ 30 w 43"/>
                  <a:gd name="T5" fmla="*/ 0 h 25"/>
                  <a:gd name="T6" fmla="*/ 43 w 43"/>
                  <a:gd name="T7" fmla="*/ 12 h 25"/>
                  <a:gd name="T8" fmla="*/ 30 w 43"/>
                  <a:gd name="T9" fmla="*/ 25 h 25"/>
                  <a:gd name="T10" fmla="*/ 30 w 43"/>
                  <a:gd name="T11" fmla="*/ 19 h 25"/>
                  <a:gd name="T12" fmla="*/ 0 w 43"/>
                  <a:gd name="T13" fmla="*/ 19 h 25"/>
                  <a:gd name="T14" fmla="*/ 17 w 43"/>
                  <a:gd name="T15" fmla="*/ 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17" y="5"/>
                    </a:moveTo>
                    <a:cubicBezTo>
                      <a:pt x="30" y="5"/>
                      <a:pt x="30" y="5"/>
                      <a:pt x="30" y="5"/>
                    </a:cubicBezTo>
                    <a:cubicBezTo>
                      <a:pt x="30" y="0"/>
                      <a:pt x="30" y="0"/>
                      <a:pt x="30" y="0"/>
                    </a:cubicBezTo>
                    <a:cubicBezTo>
                      <a:pt x="43" y="12"/>
                      <a:pt x="43" y="12"/>
                      <a:pt x="43" y="12"/>
                    </a:cubicBezTo>
                    <a:cubicBezTo>
                      <a:pt x="30" y="25"/>
                      <a:pt x="30" y="25"/>
                      <a:pt x="30" y="25"/>
                    </a:cubicBezTo>
                    <a:cubicBezTo>
                      <a:pt x="30" y="19"/>
                      <a:pt x="30" y="19"/>
                      <a:pt x="30" y="19"/>
                    </a:cubicBezTo>
                    <a:cubicBezTo>
                      <a:pt x="0" y="19"/>
                      <a:pt x="0" y="19"/>
                      <a:pt x="0" y="19"/>
                    </a:cubicBezTo>
                    <a:cubicBezTo>
                      <a:pt x="6" y="16"/>
                      <a:pt x="12" y="11"/>
                      <a:pt x="17" y="5"/>
                    </a:cubicBezTo>
                    <a:close/>
                  </a:path>
                </a:pathLst>
              </a:custGeom>
              <a:solidFill>
                <a:srgbClr val="40AD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Freeform 145">
                <a:extLst>
                  <a:ext uri="{FF2B5EF4-FFF2-40B4-BE49-F238E27FC236}">
                    <a16:creationId xmlns:a16="http://schemas.microsoft.com/office/drawing/2014/main" xmlns="" id="{3E4566C5-70E8-4D50-9DF8-241A0D57A026}"/>
                  </a:ext>
                </a:extLst>
              </p:cNvPr>
              <p:cNvSpPr>
                <a:spLocks/>
              </p:cNvSpPr>
              <p:nvPr/>
            </p:nvSpPr>
            <p:spPr bwMode="auto">
              <a:xfrm>
                <a:off x="5326063" y="1984376"/>
                <a:ext cx="155575" cy="277813"/>
              </a:xfrm>
              <a:custGeom>
                <a:avLst/>
                <a:gdLst>
                  <a:gd name="T0" fmla="*/ 46 w 46"/>
                  <a:gd name="T1" fmla="*/ 14 h 82"/>
                  <a:gd name="T2" fmla="*/ 14 w 46"/>
                  <a:gd name="T3" fmla="*/ 51 h 82"/>
                  <a:gd name="T4" fmla="*/ 31 w 46"/>
                  <a:gd name="T5" fmla="*/ 82 h 82"/>
                  <a:gd name="T6" fmla="*/ 11 w 46"/>
                  <a:gd name="T7" fmla="*/ 82 h 82"/>
                  <a:gd name="T8" fmla="*/ 0 w 46"/>
                  <a:gd name="T9" fmla="*/ 51 h 82"/>
                  <a:gd name="T10" fmla="*/ 45 w 46"/>
                  <a:gd name="T11" fmla="*/ 0 h 82"/>
                  <a:gd name="T12" fmla="*/ 39 w 46"/>
                  <a:gd name="T13" fmla="*/ 7 h 82"/>
                  <a:gd name="T14" fmla="*/ 46 w 46"/>
                  <a:gd name="T15" fmla="*/ 14 h 82"/>
                  <a:gd name="T16" fmla="*/ 46 w 46"/>
                  <a:gd name="T17"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82">
                    <a:moveTo>
                      <a:pt x="46" y="14"/>
                    </a:moveTo>
                    <a:cubicBezTo>
                      <a:pt x="28" y="17"/>
                      <a:pt x="14" y="32"/>
                      <a:pt x="14" y="51"/>
                    </a:cubicBezTo>
                    <a:cubicBezTo>
                      <a:pt x="14" y="64"/>
                      <a:pt x="21" y="75"/>
                      <a:pt x="31" y="82"/>
                    </a:cubicBezTo>
                    <a:cubicBezTo>
                      <a:pt x="11" y="82"/>
                      <a:pt x="11" y="82"/>
                      <a:pt x="11" y="82"/>
                    </a:cubicBezTo>
                    <a:cubicBezTo>
                      <a:pt x="4" y="73"/>
                      <a:pt x="0" y="63"/>
                      <a:pt x="0" y="51"/>
                    </a:cubicBezTo>
                    <a:cubicBezTo>
                      <a:pt x="0" y="25"/>
                      <a:pt x="20" y="3"/>
                      <a:pt x="45" y="0"/>
                    </a:cubicBezTo>
                    <a:cubicBezTo>
                      <a:pt x="39" y="7"/>
                      <a:pt x="39" y="7"/>
                      <a:pt x="39" y="7"/>
                    </a:cubicBezTo>
                    <a:cubicBezTo>
                      <a:pt x="46" y="14"/>
                      <a:pt x="46" y="14"/>
                      <a:pt x="46" y="14"/>
                    </a:cubicBezTo>
                    <a:cubicBezTo>
                      <a:pt x="46" y="14"/>
                      <a:pt x="46" y="14"/>
                      <a:pt x="46" y="14"/>
                    </a:cubicBez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46">
                <a:extLst>
                  <a:ext uri="{FF2B5EF4-FFF2-40B4-BE49-F238E27FC236}">
                    <a16:creationId xmlns:a16="http://schemas.microsoft.com/office/drawing/2014/main" xmlns="" id="{FAE785AB-1935-47BD-AF92-3E7CE2F0F883}"/>
                  </a:ext>
                </a:extLst>
              </p:cNvPr>
              <p:cNvSpPr>
                <a:spLocks/>
              </p:cNvSpPr>
              <p:nvPr/>
            </p:nvSpPr>
            <p:spPr bwMode="auto">
              <a:xfrm>
                <a:off x="5305426" y="1963738"/>
                <a:ext cx="365125" cy="365125"/>
              </a:xfrm>
              <a:custGeom>
                <a:avLst/>
                <a:gdLst>
                  <a:gd name="T0" fmla="*/ 7 w 108"/>
                  <a:gd name="T1" fmla="*/ 101 h 108"/>
                  <a:gd name="T2" fmla="*/ 0 w 108"/>
                  <a:gd name="T3" fmla="*/ 94 h 108"/>
                  <a:gd name="T4" fmla="*/ 57 w 108"/>
                  <a:gd name="T5" fmla="*/ 94 h 108"/>
                  <a:gd name="T6" fmla="*/ 94 w 108"/>
                  <a:gd name="T7" fmla="*/ 57 h 108"/>
                  <a:gd name="T8" fmla="*/ 64 w 108"/>
                  <a:gd name="T9" fmla="*/ 21 h 108"/>
                  <a:gd name="T10" fmla="*/ 64 w 108"/>
                  <a:gd name="T11" fmla="*/ 26 h 108"/>
                  <a:gd name="T12" fmla="*/ 51 w 108"/>
                  <a:gd name="T13" fmla="*/ 13 h 108"/>
                  <a:gd name="T14" fmla="*/ 64 w 108"/>
                  <a:gd name="T15" fmla="*/ 0 h 108"/>
                  <a:gd name="T16" fmla="*/ 64 w 108"/>
                  <a:gd name="T17" fmla="*/ 6 h 108"/>
                  <a:gd name="T18" fmla="*/ 108 w 108"/>
                  <a:gd name="T19" fmla="*/ 57 h 108"/>
                  <a:gd name="T20" fmla="*/ 57 w 108"/>
                  <a:gd name="T21" fmla="*/ 108 h 108"/>
                  <a:gd name="T22" fmla="*/ 0 w 108"/>
                  <a:gd name="T23" fmla="*/ 108 h 108"/>
                  <a:gd name="T24" fmla="*/ 7 w 108"/>
                  <a:gd name="T25" fmla="*/ 101 h 108"/>
                  <a:gd name="T26" fmla="*/ 7 w 108"/>
                  <a:gd name="T27"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08">
                    <a:moveTo>
                      <a:pt x="7" y="101"/>
                    </a:moveTo>
                    <a:cubicBezTo>
                      <a:pt x="0" y="94"/>
                      <a:pt x="0" y="94"/>
                      <a:pt x="0" y="94"/>
                    </a:cubicBezTo>
                    <a:cubicBezTo>
                      <a:pt x="57" y="94"/>
                      <a:pt x="57" y="94"/>
                      <a:pt x="57" y="94"/>
                    </a:cubicBezTo>
                    <a:cubicBezTo>
                      <a:pt x="78" y="94"/>
                      <a:pt x="94" y="78"/>
                      <a:pt x="94" y="57"/>
                    </a:cubicBezTo>
                    <a:cubicBezTo>
                      <a:pt x="94" y="39"/>
                      <a:pt x="81" y="24"/>
                      <a:pt x="64" y="21"/>
                    </a:cubicBezTo>
                    <a:cubicBezTo>
                      <a:pt x="64" y="26"/>
                      <a:pt x="64" y="26"/>
                      <a:pt x="64" y="26"/>
                    </a:cubicBezTo>
                    <a:cubicBezTo>
                      <a:pt x="51" y="13"/>
                      <a:pt x="51" y="13"/>
                      <a:pt x="51" y="13"/>
                    </a:cubicBezTo>
                    <a:cubicBezTo>
                      <a:pt x="64" y="0"/>
                      <a:pt x="64" y="0"/>
                      <a:pt x="64" y="0"/>
                    </a:cubicBezTo>
                    <a:cubicBezTo>
                      <a:pt x="64" y="6"/>
                      <a:pt x="64" y="6"/>
                      <a:pt x="64" y="6"/>
                    </a:cubicBezTo>
                    <a:cubicBezTo>
                      <a:pt x="89" y="9"/>
                      <a:pt x="108" y="31"/>
                      <a:pt x="108" y="57"/>
                    </a:cubicBezTo>
                    <a:cubicBezTo>
                      <a:pt x="108" y="85"/>
                      <a:pt x="85" y="108"/>
                      <a:pt x="57" y="108"/>
                    </a:cubicBezTo>
                    <a:cubicBezTo>
                      <a:pt x="0" y="108"/>
                      <a:pt x="0" y="108"/>
                      <a:pt x="0" y="108"/>
                    </a:cubicBezTo>
                    <a:cubicBezTo>
                      <a:pt x="7" y="101"/>
                      <a:pt x="7" y="101"/>
                      <a:pt x="7" y="101"/>
                    </a:cubicBezTo>
                    <a:cubicBezTo>
                      <a:pt x="7" y="101"/>
                      <a:pt x="7" y="101"/>
                      <a:pt x="7" y="1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77" name="Groupe 576">
            <a:extLst>
              <a:ext uri="{FF2B5EF4-FFF2-40B4-BE49-F238E27FC236}">
                <a16:creationId xmlns:a16="http://schemas.microsoft.com/office/drawing/2014/main" xmlns="" id="{335A7629-65E2-4B56-B745-3F5A0A12DADB}"/>
              </a:ext>
            </a:extLst>
          </p:cNvPr>
          <p:cNvGrpSpPr>
            <a:grpSpLocks noChangeAspect="1"/>
          </p:cNvGrpSpPr>
          <p:nvPr/>
        </p:nvGrpSpPr>
        <p:grpSpPr>
          <a:xfrm>
            <a:off x="9782956" y="1274501"/>
            <a:ext cx="766250" cy="720000"/>
            <a:chOff x="2535238" y="4187826"/>
            <a:chExt cx="973138" cy="914400"/>
          </a:xfrm>
        </p:grpSpPr>
        <p:sp>
          <p:nvSpPr>
            <p:cNvPr id="578" name="Freeform 221">
              <a:extLst>
                <a:ext uri="{FF2B5EF4-FFF2-40B4-BE49-F238E27FC236}">
                  <a16:creationId xmlns:a16="http://schemas.microsoft.com/office/drawing/2014/main" xmlns="" id="{D0E85E03-A7FD-467E-95AD-BDD275067D98}"/>
                </a:ext>
              </a:extLst>
            </p:cNvPr>
            <p:cNvSpPr>
              <a:spLocks/>
            </p:cNvSpPr>
            <p:nvPr/>
          </p:nvSpPr>
          <p:spPr bwMode="auto">
            <a:xfrm>
              <a:off x="2535238" y="4187826"/>
              <a:ext cx="973138" cy="914400"/>
            </a:xfrm>
            <a:custGeom>
              <a:avLst/>
              <a:gdLst>
                <a:gd name="T0" fmla="*/ 41 w 288"/>
                <a:gd name="T1" fmla="*/ 211 h 270"/>
                <a:gd name="T2" fmla="*/ 69 w 288"/>
                <a:gd name="T3" fmla="*/ 40 h 270"/>
                <a:gd name="T4" fmla="*/ 247 w 288"/>
                <a:gd name="T5" fmla="*/ 65 h 270"/>
                <a:gd name="T6" fmla="*/ 214 w 288"/>
                <a:gd name="T7" fmla="*/ 230 h 270"/>
                <a:gd name="T8" fmla="*/ 41 w 288"/>
                <a:gd name="T9" fmla="*/ 211 h 270"/>
              </a:gdLst>
              <a:ahLst/>
              <a:cxnLst>
                <a:cxn ang="0">
                  <a:pos x="T0" y="T1"/>
                </a:cxn>
                <a:cxn ang="0">
                  <a:pos x="T2" y="T3"/>
                </a:cxn>
                <a:cxn ang="0">
                  <a:pos x="T4" y="T5"/>
                </a:cxn>
                <a:cxn ang="0">
                  <a:pos x="T6" y="T7"/>
                </a:cxn>
                <a:cxn ang="0">
                  <a:pos x="T8" y="T9"/>
                </a:cxn>
              </a:cxnLst>
              <a:rect l="0" t="0" r="r" b="b"/>
              <a:pathLst>
                <a:path w="288" h="270">
                  <a:moveTo>
                    <a:pt x="41" y="211"/>
                  </a:moveTo>
                  <a:cubicBezTo>
                    <a:pt x="0" y="157"/>
                    <a:pt x="12" y="80"/>
                    <a:pt x="69" y="40"/>
                  </a:cubicBezTo>
                  <a:cubicBezTo>
                    <a:pt x="126" y="0"/>
                    <a:pt x="205" y="11"/>
                    <a:pt x="247" y="65"/>
                  </a:cubicBezTo>
                  <a:cubicBezTo>
                    <a:pt x="288" y="119"/>
                    <a:pt x="271" y="189"/>
                    <a:pt x="214" y="230"/>
                  </a:cubicBezTo>
                  <a:cubicBezTo>
                    <a:pt x="158" y="270"/>
                    <a:pt x="83" y="265"/>
                    <a:pt x="41" y="211"/>
                  </a:cubicBezTo>
                </a:path>
              </a:pathLst>
            </a:custGeom>
            <a:solidFill>
              <a:srgbClr val="291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1" name="Groupe 600">
              <a:extLst>
                <a:ext uri="{FF2B5EF4-FFF2-40B4-BE49-F238E27FC236}">
                  <a16:creationId xmlns:a16="http://schemas.microsoft.com/office/drawing/2014/main" xmlns="" id="{BF31158E-870B-49C7-A51D-D6FD4144D447}"/>
                </a:ext>
              </a:extLst>
            </p:cNvPr>
            <p:cNvGrpSpPr/>
            <p:nvPr/>
          </p:nvGrpSpPr>
          <p:grpSpPr>
            <a:xfrm>
              <a:off x="2757488" y="4397376"/>
              <a:ext cx="528638" cy="444500"/>
              <a:chOff x="2757488" y="4397376"/>
              <a:chExt cx="528638" cy="444500"/>
            </a:xfrm>
          </p:grpSpPr>
          <p:sp>
            <p:nvSpPr>
              <p:cNvPr id="602" name="Freeform 222">
                <a:extLst>
                  <a:ext uri="{FF2B5EF4-FFF2-40B4-BE49-F238E27FC236}">
                    <a16:creationId xmlns:a16="http://schemas.microsoft.com/office/drawing/2014/main" xmlns="" id="{99C5AC86-FA0A-478F-83EB-E0338BC1DAA3}"/>
                  </a:ext>
                </a:extLst>
              </p:cNvPr>
              <p:cNvSpPr>
                <a:spLocks/>
              </p:cNvSpPr>
              <p:nvPr/>
            </p:nvSpPr>
            <p:spPr bwMode="auto">
              <a:xfrm>
                <a:off x="2984501" y="4624388"/>
                <a:ext cx="301625" cy="217488"/>
              </a:xfrm>
              <a:custGeom>
                <a:avLst/>
                <a:gdLst>
                  <a:gd name="T0" fmla="*/ 87 w 89"/>
                  <a:gd name="T1" fmla="*/ 33 h 64"/>
                  <a:gd name="T2" fmla="*/ 50 w 89"/>
                  <a:gd name="T3" fmla="*/ 6 h 64"/>
                  <a:gd name="T4" fmla="*/ 46 w 89"/>
                  <a:gd name="T5" fmla="*/ 8 h 64"/>
                  <a:gd name="T6" fmla="*/ 46 w 89"/>
                  <a:gd name="T7" fmla="*/ 25 h 64"/>
                  <a:gd name="T8" fmla="*/ 33 w 89"/>
                  <a:gd name="T9" fmla="*/ 25 h 64"/>
                  <a:gd name="T10" fmla="*/ 23 w 89"/>
                  <a:gd name="T11" fmla="*/ 20 h 64"/>
                  <a:gd name="T12" fmla="*/ 10 w 89"/>
                  <a:gd name="T13" fmla="*/ 0 h 64"/>
                  <a:gd name="T14" fmla="*/ 0 w 89"/>
                  <a:gd name="T15" fmla="*/ 17 h 64"/>
                  <a:gd name="T16" fmla="*/ 7 w 89"/>
                  <a:gd name="T17" fmla="*/ 29 h 64"/>
                  <a:gd name="T18" fmla="*/ 33 w 89"/>
                  <a:gd name="T19" fmla="*/ 43 h 64"/>
                  <a:gd name="T20" fmla="*/ 46 w 89"/>
                  <a:gd name="T21" fmla="*/ 43 h 64"/>
                  <a:gd name="T22" fmla="*/ 46 w 89"/>
                  <a:gd name="T23" fmla="*/ 61 h 64"/>
                  <a:gd name="T24" fmla="*/ 50 w 89"/>
                  <a:gd name="T25" fmla="*/ 63 h 64"/>
                  <a:gd name="T26" fmla="*/ 87 w 89"/>
                  <a:gd name="T27" fmla="*/ 37 h 64"/>
                  <a:gd name="T28" fmla="*/ 87 w 89"/>
                  <a:gd name="T29" fmla="*/ 3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64">
                    <a:moveTo>
                      <a:pt x="87" y="33"/>
                    </a:moveTo>
                    <a:cubicBezTo>
                      <a:pt x="50" y="6"/>
                      <a:pt x="50" y="6"/>
                      <a:pt x="50" y="6"/>
                    </a:cubicBezTo>
                    <a:cubicBezTo>
                      <a:pt x="48" y="4"/>
                      <a:pt x="46" y="6"/>
                      <a:pt x="46" y="8"/>
                    </a:cubicBezTo>
                    <a:cubicBezTo>
                      <a:pt x="46" y="25"/>
                      <a:pt x="46" y="25"/>
                      <a:pt x="46" y="25"/>
                    </a:cubicBezTo>
                    <a:cubicBezTo>
                      <a:pt x="33" y="25"/>
                      <a:pt x="33" y="25"/>
                      <a:pt x="33" y="25"/>
                    </a:cubicBezTo>
                    <a:cubicBezTo>
                      <a:pt x="29" y="25"/>
                      <a:pt x="25" y="23"/>
                      <a:pt x="23" y="20"/>
                    </a:cubicBezTo>
                    <a:cubicBezTo>
                      <a:pt x="10" y="0"/>
                      <a:pt x="10" y="0"/>
                      <a:pt x="10" y="0"/>
                    </a:cubicBezTo>
                    <a:cubicBezTo>
                      <a:pt x="0" y="17"/>
                      <a:pt x="0" y="17"/>
                      <a:pt x="0" y="17"/>
                    </a:cubicBezTo>
                    <a:cubicBezTo>
                      <a:pt x="7" y="29"/>
                      <a:pt x="7" y="29"/>
                      <a:pt x="7" y="29"/>
                    </a:cubicBezTo>
                    <a:cubicBezTo>
                      <a:pt x="13" y="38"/>
                      <a:pt x="22" y="43"/>
                      <a:pt x="33" y="43"/>
                    </a:cubicBezTo>
                    <a:cubicBezTo>
                      <a:pt x="46" y="43"/>
                      <a:pt x="46" y="43"/>
                      <a:pt x="46" y="43"/>
                    </a:cubicBezTo>
                    <a:cubicBezTo>
                      <a:pt x="46" y="61"/>
                      <a:pt x="46" y="61"/>
                      <a:pt x="46" y="61"/>
                    </a:cubicBezTo>
                    <a:cubicBezTo>
                      <a:pt x="46" y="63"/>
                      <a:pt x="48" y="64"/>
                      <a:pt x="50" y="63"/>
                    </a:cubicBezTo>
                    <a:cubicBezTo>
                      <a:pt x="87" y="37"/>
                      <a:pt x="87" y="37"/>
                      <a:pt x="87" y="37"/>
                    </a:cubicBezTo>
                    <a:cubicBezTo>
                      <a:pt x="89" y="36"/>
                      <a:pt x="89" y="33"/>
                      <a:pt x="87"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223">
                <a:extLst>
                  <a:ext uri="{FF2B5EF4-FFF2-40B4-BE49-F238E27FC236}">
                    <a16:creationId xmlns:a16="http://schemas.microsoft.com/office/drawing/2014/main" xmlns="" id="{35684E99-D50D-4428-8CDF-8672FD4739E3}"/>
                  </a:ext>
                </a:extLst>
              </p:cNvPr>
              <p:cNvSpPr>
                <a:spLocks/>
              </p:cNvSpPr>
              <p:nvPr/>
            </p:nvSpPr>
            <p:spPr bwMode="auto">
              <a:xfrm>
                <a:off x="2757488" y="4397376"/>
                <a:ext cx="528638" cy="366713"/>
              </a:xfrm>
              <a:custGeom>
                <a:avLst/>
                <a:gdLst>
                  <a:gd name="T0" fmla="*/ 88 w 156"/>
                  <a:gd name="T1" fmla="*/ 45 h 108"/>
                  <a:gd name="T2" fmla="*/ 101 w 156"/>
                  <a:gd name="T3" fmla="*/ 38 h 108"/>
                  <a:gd name="T4" fmla="*/ 113 w 156"/>
                  <a:gd name="T5" fmla="*/ 38 h 108"/>
                  <a:gd name="T6" fmla="*/ 113 w 156"/>
                  <a:gd name="T7" fmla="*/ 56 h 108"/>
                  <a:gd name="T8" fmla="*/ 117 w 156"/>
                  <a:gd name="T9" fmla="*/ 58 h 108"/>
                  <a:gd name="T10" fmla="*/ 154 w 156"/>
                  <a:gd name="T11" fmla="*/ 32 h 108"/>
                  <a:gd name="T12" fmla="*/ 154 w 156"/>
                  <a:gd name="T13" fmla="*/ 28 h 108"/>
                  <a:gd name="T14" fmla="*/ 117 w 156"/>
                  <a:gd name="T15" fmla="*/ 1 h 108"/>
                  <a:gd name="T16" fmla="*/ 113 w 156"/>
                  <a:gd name="T17" fmla="*/ 3 h 108"/>
                  <a:gd name="T18" fmla="*/ 113 w 156"/>
                  <a:gd name="T19" fmla="*/ 20 h 108"/>
                  <a:gd name="T20" fmla="*/ 99 w 156"/>
                  <a:gd name="T21" fmla="*/ 20 h 108"/>
                  <a:gd name="T22" fmla="*/ 73 w 156"/>
                  <a:gd name="T23" fmla="*/ 35 h 108"/>
                  <a:gd name="T24" fmla="*/ 65 w 156"/>
                  <a:gd name="T25" fmla="*/ 46 h 108"/>
                  <a:gd name="T26" fmla="*/ 53 w 156"/>
                  <a:gd name="T27" fmla="*/ 66 h 108"/>
                  <a:gd name="T28" fmla="*/ 41 w 156"/>
                  <a:gd name="T29" fmla="*/ 85 h 108"/>
                  <a:gd name="T30" fmla="*/ 30 w 156"/>
                  <a:gd name="T31" fmla="*/ 91 h 108"/>
                  <a:gd name="T32" fmla="*/ 3 w 156"/>
                  <a:gd name="T33" fmla="*/ 91 h 108"/>
                  <a:gd name="T34" fmla="*/ 0 w 156"/>
                  <a:gd name="T35" fmla="*/ 94 h 108"/>
                  <a:gd name="T36" fmla="*/ 0 w 156"/>
                  <a:gd name="T37" fmla="*/ 105 h 108"/>
                  <a:gd name="T38" fmla="*/ 4 w 156"/>
                  <a:gd name="T39" fmla="*/ 108 h 108"/>
                  <a:gd name="T40" fmla="*/ 29 w 156"/>
                  <a:gd name="T41" fmla="*/ 108 h 108"/>
                  <a:gd name="T42" fmla="*/ 58 w 156"/>
                  <a:gd name="T43" fmla="*/ 93 h 108"/>
                  <a:gd name="T44" fmla="*/ 61 w 156"/>
                  <a:gd name="T45" fmla="*/ 87 h 108"/>
                  <a:gd name="T46" fmla="*/ 74 w 156"/>
                  <a:gd name="T47" fmla="*/ 67 h 108"/>
                  <a:gd name="T48" fmla="*/ 88 w 156"/>
                  <a:gd name="T49" fmla="*/ 45 h 108"/>
                  <a:gd name="T50" fmla="*/ 88 w 156"/>
                  <a:gd name="T5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108">
                    <a:moveTo>
                      <a:pt x="88" y="45"/>
                    </a:moveTo>
                    <a:cubicBezTo>
                      <a:pt x="91" y="41"/>
                      <a:pt x="96" y="38"/>
                      <a:pt x="101" y="38"/>
                    </a:cubicBezTo>
                    <a:cubicBezTo>
                      <a:pt x="113" y="38"/>
                      <a:pt x="113" y="38"/>
                      <a:pt x="113" y="38"/>
                    </a:cubicBezTo>
                    <a:cubicBezTo>
                      <a:pt x="113" y="56"/>
                      <a:pt x="113" y="56"/>
                      <a:pt x="113" y="56"/>
                    </a:cubicBezTo>
                    <a:cubicBezTo>
                      <a:pt x="113" y="58"/>
                      <a:pt x="116" y="59"/>
                      <a:pt x="117" y="58"/>
                    </a:cubicBezTo>
                    <a:cubicBezTo>
                      <a:pt x="154" y="32"/>
                      <a:pt x="154" y="32"/>
                      <a:pt x="154" y="32"/>
                    </a:cubicBezTo>
                    <a:cubicBezTo>
                      <a:pt x="156" y="31"/>
                      <a:pt x="156" y="29"/>
                      <a:pt x="154" y="28"/>
                    </a:cubicBezTo>
                    <a:cubicBezTo>
                      <a:pt x="117" y="1"/>
                      <a:pt x="117" y="1"/>
                      <a:pt x="117" y="1"/>
                    </a:cubicBezTo>
                    <a:cubicBezTo>
                      <a:pt x="115" y="0"/>
                      <a:pt x="113" y="1"/>
                      <a:pt x="113" y="3"/>
                    </a:cubicBezTo>
                    <a:cubicBezTo>
                      <a:pt x="113" y="20"/>
                      <a:pt x="113" y="20"/>
                      <a:pt x="113" y="20"/>
                    </a:cubicBezTo>
                    <a:cubicBezTo>
                      <a:pt x="99" y="20"/>
                      <a:pt x="99" y="20"/>
                      <a:pt x="99" y="20"/>
                    </a:cubicBezTo>
                    <a:cubicBezTo>
                      <a:pt x="88" y="20"/>
                      <a:pt x="79" y="26"/>
                      <a:pt x="73" y="35"/>
                    </a:cubicBezTo>
                    <a:cubicBezTo>
                      <a:pt x="65" y="46"/>
                      <a:pt x="65" y="46"/>
                      <a:pt x="65" y="46"/>
                    </a:cubicBezTo>
                    <a:cubicBezTo>
                      <a:pt x="53" y="66"/>
                      <a:pt x="53" y="66"/>
                      <a:pt x="53" y="66"/>
                    </a:cubicBezTo>
                    <a:cubicBezTo>
                      <a:pt x="41" y="85"/>
                      <a:pt x="41" y="85"/>
                      <a:pt x="41" y="85"/>
                    </a:cubicBezTo>
                    <a:cubicBezTo>
                      <a:pt x="39" y="89"/>
                      <a:pt x="35" y="91"/>
                      <a:pt x="30" y="91"/>
                    </a:cubicBezTo>
                    <a:cubicBezTo>
                      <a:pt x="3" y="91"/>
                      <a:pt x="3" y="91"/>
                      <a:pt x="3" y="91"/>
                    </a:cubicBezTo>
                    <a:cubicBezTo>
                      <a:pt x="1" y="91"/>
                      <a:pt x="0" y="92"/>
                      <a:pt x="0" y="94"/>
                    </a:cubicBezTo>
                    <a:cubicBezTo>
                      <a:pt x="0" y="105"/>
                      <a:pt x="0" y="105"/>
                      <a:pt x="0" y="105"/>
                    </a:cubicBezTo>
                    <a:cubicBezTo>
                      <a:pt x="0" y="107"/>
                      <a:pt x="2" y="108"/>
                      <a:pt x="4" y="108"/>
                    </a:cubicBezTo>
                    <a:cubicBezTo>
                      <a:pt x="29" y="108"/>
                      <a:pt x="29" y="108"/>
                      <a:pt x="29" y="108"/>
                    </a:cubicBezTo>
                    <a:cubicBezTo>
                      <a:pt x="40" y="108"/>
                      <a:pt x="51" y="103"/>
                      <a:pt x="58" y="93"/>
                    </a:cubicBezTo>
                    <a:cubicBezTo>
                      <a:pt x="61" y="87"/>
                      <a:pt x="61" y="87"/>
                      <a:pt x="61" y="87"/>
                    </a:cubicBezTo>
                    <a:cubicBezTo>
                      <a:pt x="74" y="67"/>
                      <a:pt x="74" y="67"/>
                      <a:pt x="74" y="67"/>
                    </a:cubicBezTo>
                    <a:cubicBezTo>
                      <a:pt x="88" y="45"/>
                      <a:pt x="88" y="45"/>
                      <a:pt x="88" y="45"/>
                    </a:cubicBezTo>
                    <a:cubicBezTo>
                      <a:pt x="88" y="45"/>
                      <a:pt x="88" y="45"/>
                      <a:pt x="88" y="45"/>
                    </a:cubicBez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224">
                <a:extLst>
                  <a:ext uri="{FF2B5EF4-FFF2-40B4-BE49-F238E27FC236}">
                    <a16:creationId xmlns:a16="http://schemas.microsoft.com/office/drawing/2014/main" xmlns="" id="{71CADE2F-E270-4A56-83D3-5B1F6901F887}"/>
                  </a:ext>
                </a:extLst>
              </p:cNvPr>
              <p:cNvSpPr>
                <a:spLocks/>
              </p:cNvSpPr>
              <p:nvPr/>
            </p:nvSpPr>
            <p:spPr bwMode="auto">
              <a:xfrm>
                <a:off x="2757488" y="4468813"/>
                <a:ext cx="217488" cy="134938"/>
              </a:xfrm>
              <a:custGeom>
                <a:avLst/>
                <a:gdLst>
                  <a:gd name="T0" fmla="*/ 3 w 64"/>
                  <a:gd name="T1" fmla="*/ 17 h 40"/>
                  <a:gd name="T2" fmla="*/ 31 w 64"/>
                  <a:gd name="T3" fmla="*/ 17 h 40"/>
                  <a:gd name="T4" fmla="*/ 41 w 64"/>
                  <a:gd name="T5" fmla="*/ 23 h 40"/>
                  <a:gd name="T6" fmla="*/ 52 w 64"/>
                  <a:gd name="T7" fmla="*/ 40 h 40"/>
                  <a:gd name="T8" fmla="*/ 64 w 64"/>
                  <a:gd name="T9" fmla="*/ 24 h 40"/>
                  <a:gd name="T10" fmla="*/ 58 w 64"/>
                  <a:gd name="T11" fmla="*/ 15 h 40"/>
                  <a:gd name="T12" fmla="*/ 29 w 64"/>
                  <a:gd name="T13" fmla="*/ 0 h 40"/>
                  <a:gd name="T14" fmla="*/ 4 w 64"/>
                  <a:gd name="T15" fmla="*/ 0 h 40"/>
                  <a:gd name="T16" fmla="*/ 0 w 64"/>
                  <a:gd name="T17" fmla="*/ 3 h 40"/>
                  <a:gd name="T18" fmla="*/ 0 w 64"/>
                  <a:gd name="T19" fmla="*/ 14 h 40"/>
                  <a:gd name="T20" fmla="*/ 3 w 64"/>
                  <a:gd name="T2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0">
                    <a:moveTo>
                      <a:pt x="3" y="17"/>
                    </a:moveTo>
                    <a:cubicBezTo>
                      <a:pt x="31" y="17"/>
                      <a:pt x="31" y="17"/>
                      <a:pt x="31" y="17"/>
                    </a:cubicBezTo>
                    <a:cubicBezTo>
                      <a:pt x="35" y="17"/>
                      <a:pt x="39" y="19"/>
                      <a:pt x="41" y="23"/>
                    </a:cubicBezTo>
                    <a:cubicBezTo>
                      <a:pt x="52" y="40"/>
                      <a:pt x="52" y="40"/>
                      <a:pt x="52" y="40"/>
                    </a:cubicBezTo>
                    <a:cubicBezTo>
                      <a:pt x="64" y="24"/>
                      <a:pt x="64" y="24"/>
                      <a:pt x="64" y="24"/>
                    </a:cubicBezTo>
                    <a:cubicBezTo>
                      <a:pt x="58" y="15"/>
                      <a:pt x="58" y="15"/>
                      <a:pt x="58" y="15"/>
                    </a:cubicBezTo>
                    <a:cubicBezTo>
                      <a:pt x="52" y="6"/>
                      <a:pt x="41" y="0"/>
                      <a:pt x="29" y="0"/>
                    </a:cubicBezTo>
                    <a:cubicBezTo>
                      <a:pt x="4" y="0"/>
                      <a:pt x="4" y="0"/>
                      <a:pt x="4" y="0"/>
                    </a:cubicBezTo>
                    <a:cubicBezTo>
                      <a:pt x="2" y="0"/>
                      <a:pt x="0" y="2"/>
                      <a:pt x="0" y="3"/>
                    </a:cubicBezTo>
                    <a:cubicBezTo>
                      <a:pt x="0" y="14"/>
                      <a:pt x="0" y="14"/>
                      <a:pt x="0" y="14"/>
                    </a:cubicBezTo>
                    <a:cubicBezTo>
                      <a:pt x="0" y="16"/>
                      <a:pt x="1" y="17"/>
                      <a:pt x="3" y="17"/>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09" name="Groupe 608">
            <a:extLst>
              <a:ext uri="{FF2B5EF4-FFF2-40B4-BE49-F238E27FC236}">
                <a16:creationId xmlns:a16="http://schemas.microsoft.com/office/drawing/2014/main" xmlns="" id="{6E42368D-2764-4C5C-A716-D5E3CA3B6A89}"/>
              </a:ext>
            </a:extLst>
          </p:cNvPr>
          <p:cNvGrpSpPr>
            <a:grpSpLocks noChangeAspect="1"/>
          </p:cNvGrpSpPr>
          <p:nvPr/>
        </p:nvGrpSpPr>
        <p:grpSpPr>
          <a:xfrm>
            <a:off x="8852079" y="5264677"/>
            <a:ext cx="769366" cy="720000"/>
            <a:chOff x="483151" y="4686475"/>
            <a:chExt cx="1014413" cy="949325"/>
          </a:xfrm>
        </p:grpSpPr>
        <p:sp>
          <p:nvSpPr>
            <p:cNvPr id="610" name="Freeform 168">
              <a:extLst>
                <a:ext uri="{FF2B5EF4-FFF2-40B4-BE49-F238E27FC236}">
                  <a16:creationId xmlns:a16="http://schemas.microsoft.com/office/drawing/2014/main" xmlns="" id="{100B8719-9DA9-4F5E-B924-9683DA7DD09F}"/>
                </a:ext>
              </a:extLst>
            </p:cNvPr>
            <p:cNvSpPr>
              <a:spLocks/>
            </p:cNvSpPr>
            <p:nvPr/>
          </p:nvSpPr>
          <p:spPr bwMode="auto">
            <a:xfrm>
              <a:off x="483151" y="4686475"/>
              <a:ext cx="1014413" cy="949325"/>
            </a:xfrm>
            <a:custGeom>
              <a:avLst/>
              <a:gdLst>
                <a:gd name="T0" fmla="*/ 43 w 300"/>
                <a:gd name="T1" fmla="*/ 219 h 280"/>
                <a:gd name="T2" fmla="*/ 72 w 300"/>
                <a:gd name="T3" fmla="*/ 42 h 280"/>
                <a:gd name="T4" fmla="*/ 256 w 300"/>
                <a:gd name="T5" fmla="*/ 68 h 280"/>
                <a:gd name="T6" fmla="*/ 223 w 300"/>
                <a:gd name="T7" fmla="*/ 239 h 280"/>
                <a:gd name="T8" fmla="*/ 43 w 300"/>
                <a:gd name="T9" fmla="*/ 219 h 280"/>
              </a:gdLst>
              <a:ahLst/>
              <a:cxnLst>
                <a:cxn ang="0">
                  <a:pos x="T0" y="T1"/>
                </a:cxn>
                <a:cxn ang="0">
                  <a:pos x="T2" y="T3"/>
                </a:cxn>
                <a:cxn ang="0">
                  <a:pos x="T4" y="T5"/>
                </a:cxn>
                <a:cxn ang="0">
                  <a:pos x="T6" y="T7"/>
                </a:cxn>
                <a:cxn ang="0">
                  <a:pos x="T8" y="T9"/>
                </a:cxn>
              </a:cxnLst>
              <a:rect l="0" t="0" r="r" b="b"/>
              <a:pathLst>
                <a:path w="300" h="280">
                  <a:moveTo>
                    <a:pt x="43" y="219"/>
                  </a:moveTo>
                  <a:cubicBezTo>
                    <a:pt x="0" y="163"/>
                    <a:pt x="13" y="84"/>
                    <a:pt x="72" y="42"/>
                  </a:cubicBezTo>
                  <a:cubicBezTo>
                    <a:pt x="131" y="0"/>
                    <a:pt x="213" y="12"/>
                    <a:pt x="256" y="68"/>
                  </a:cubicBezTo>
                  <a:cubicBezTo>
                    <a:pt x="300" y="124"/>
                    <a:pt x="282" y="197"/>
                    <a:pt x="223" y="239"/>
                  </a:cubicBezTo>
                  <a:cubicBezTo>
                    <a:pt x="164" y="280"/>
                    <a:pt x="86" y="275"/>
                    <a:pt x="43" y="219"/>
                  </a:cubicBezTo>
                </a:path>
              </a:pathLst>
            </a:custGeom>
            <a:solidFill>
              <a:srgbClr val="8315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1" name="Groupe 610">
              <a:extLst>
                <a:ext uri="{FF2B5EF4-FFF2-40B4-BE49-F238E27FC236}">
                  <a16:creationId xmlns:a16="http://schemas.microsoft.com/office/drawing/2014/main" xmlns="" id="{5C5A9B54-75C3-48AE-8136-9EE9A9E2C1AB}"/>
                </a:ext>
              </a:extLst>
            </p:cNvPr>
            <p:cNvGrpSpPr>
              <a:grpSpLocks noChangeAspect="1"/>
            </p:cNvGrpSpPr>
            <p:nvPr/>
          </p:nvGrpSpPr>
          <p:grpSpPr>
            <a:xfrm rot="20916279">
              <a:off x="757973" y="5050852"/>
              <a:ext cx="494001" cy="252000"/>
              <a:chOff x="6642100" y="4413250"/>
              <a:chExt cx="392113" cy="200025"/>
            </a:xfrm>
            <a:solidFill>
              <a:schemeClr val="bg1"/>
            </a:solidFill>
          </p:grpSpPr>
          <p:sp>
            <p:nvSpPr>
              <p:cNvPr id="612" name="Freeform 170">
                <a:extLst>
                  <a:ext uri="{FF2B5EF4-FFF2-40B4-BE49-F238E27FC236}">
                    <a16:creationId xmlns:a16="http://schemas.microsoft.com/office/drawing/2014/main" xmlns="" id="{66729330-00D0-4F3D-A332-B96FE8C8E489}"/>
                  </a:ext>
                </a:extLst>
              </p:cNvPr>
              <p:cNvSpPr>
                <a:spLocks/>
              </p:cNvSpPr>
              <p:nvPr/>
            </p:nvSpPr>
            <p:spPr bwMode="auto">
              <a:xfrm>
                <a:off x="6642100" y="4413250"/>
                <a:ext cx="209550" cy="196850"/>
              </a:xfrm>
              <a:custGeom>
                <a:avLst/>
                <a:gdLst>
                  <a:gd name="T0" fmla="*/ 31 w 62"/>
                  <a:gd name="T1" fmla="*/ 58 h 58"/>
                  <a:gd name="T2" fmla="*/ 12 w 62"/>
                  <a:gd name="T3" fmla="*/ 50 h 58"/>
                  <a:gd name="T4" fmla="*/ 10 w 62"/>
                  <a:gd name="T5" fmla="*/ 11 h 58"/>
                  <a:gd name="T6" fmla="*/ 34 w 62"/>
                  <a:gd name="T7" fmla="*/ 1 h 58"/>
                  <a:gd name="T8" fmla="*/ 53 w 62"/>
                  <a:gd name="T9" fmla="*/ 13 h 58"/>
                  <a:gd name="T10" fmla="*/ 44 w 62"/>
                  <a:gd name="T11" fmla="*/ 19 h 58"/>
                  <a:gd name="T12" fmla="*/ 33 w 62"/>
                  <a:gd name="T13" fmla="*/ 12 h 58"/>
                  <a:gd name="T14" fmla="*/ 18 w 62"/>
                  <a:gd name="T15" fmla="*/ 18 h 58"/>
                  <a:gd name="T16" fmla="*/ 19 w 62"/>
                  <a:gd name="T17" fmla="*/ 43 h 58"/>
                  <a:gd name="T18" fmla="*/ 34 w 62"/>
                  <a:gd name="T19" fmla="*/ 48 h 58"/>
                  <a:gd name="T20" fmla="*/ 53 w 62"/>
                  <a:gd name="T21" fmla="*/ 29 h 58"/>
                  <a:gd name="T22" fmla="*/ 62 w 62"/>
                  <a:gd name="T23" fmla="*/ 33 h 58"/>
                  <a:gd name="T24" fmla="*/ 36 w 62"/>
                  <a:gd name="T25" fmla="*/ 58 h 58"/>
                  <a:gd name="T26" fmla="*/ 31 w 62"/>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8">
                    <a:moveTo>
                      <a:pt x="31" y="58"/>
                    </a:moveTo>
                    <a:cubicBezTo>
                      <a:pt x="24" y="58"/>
                      <a:pt x="17" y="55"/>
                      <a:pt x="12" y="50"/>
                    </a:cubicBezTo>
                    <a:cubicBezTo>
                      <a:pt x="1" y="39"/>
                      <a:pt x="0" y="22"/>
                      <a:pt x="10" y="11"/>
                    </a:cubicBezTo>
                    <a:cubicBezTo>
                      <a:pt x="17" y="4"/>
                      <a:pt x="25" y="0"/>
                      <a:pt x="34" y="1"/>
                    </a:cubicBezTo>
                    <a:cubicBezTo>
                      <a:pt x="39" y="2"/>
                      <a:pt x="47" y="4"/>
                      <a:pt x="53" y="13"/>
                    </a:cubicBezTo>
                    <a:cubicBezTo>
                      <a:pt x="44" y="19"/>
                      <a:pt x="44" y="19"/>
                      <a:pt x="44" y="19"/>
                    </a:cubicBezTo>
                    <a:cubicBezTo>
                      <a:pt x="41" y="14"/>
                      <a:pt x="37" y="12"/>
                      <a:pt x="33" y="12"/>
                    </a:cubicBezTo>
                    <a:cubicBezTo>
                      <a:pt x="28" y="11"/>
                      <a:pt x="22" y="13"/>
                      <a:pt x="18" y="18"/>
                    </a:cubicBezTo>
                    <a:cubicBezTo>
                      <a:pt x="12" y="25"/>
                      <a:pt x="12" y="36"/>
                      <a:pt x="19" y="43"/>
                    </a:cubicBezTo>
                    <a:cubicBezTo>
                      <a:pt x="23" y="47"/>
                      <a:pt x="28" y="48"/>
                      <a:pt x="34" y="48"/>
                    </a:cubicBezTo>
                    <a:cubicBezTo>
                      <a:pt x="41" y="46"/>
                      <a:pt x="48" y="40"/>
                      <a:pt x="53" y="29"/>
                    </a:cubicBezTo>
                    <a:cubicBezTo>
                      <a:pt x="62" y="33"/>
                      <a:pt x="62" y="33"/>
                      <a:pt x="62" y="33"/>
                    </a:cubicBezTo>
                    <a:cubicBezTo>
                      <a:pt x="56" y="47"/>
                      <a:pt x="47" y="56"/>
                      <a:pt x="36" y="58"/>
                    </a:cubicBezTo>
                    <a:cubicBezTo>
                      <a:pt x="34" y="58"/>
                      <a:pt x="33" y="58"/>
                      <a:pt x="31"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171">
                <a:extLst>
                  <a:ext uri="{FF2B5EF4-FFF2-40B4-BE49-F238E27FC236}">
                    <a16:creationId xmlns:a16="http://schemas.microsoft.com/office/drawing/2014/main" xmlns="" id="{13AFEECF-6D66-414E-B9C4-35CF49BBB194}"/>
                  </a:ext>
                </a:extLst>
              </p:cNvPr>
              <p:cNvSpPr>
                <a:spLocks/>
              </p:cNvSpPr>
              <p:nvPr/>
            </p:nvSpPr>
            <p:spPr bwMode="auto">
              <a:xfrm>
                <a:off x="6821488" y="4416425"/>
                <a:ext cx="212725" cy="196850"/>
              </a:xfrm>
              <a:custGeom>
                <a:avLst/>
                <a:gdLst>
                  <a:gd name="T0" fmla="*/ 33 w 63"/>
                  <a:gd name="T1" fmla="*/ 58 h 58"/>
                  <a:gd name="T2" fmla="*/ 32 w 63"/>
                  <a:gd name="T3" fmla="*/ 58 h 58"/>
                  <a:gd name="T4" fmla="*/ 14 w 63"/>
                  <a:gd name="T5" fmla="*/ 49 h 58"/>
                  <a:gd name="T6" fmla="*/ 22 w 63"/>
                  <a:gd name="T7" fmla="*/ 42 h 58"/>
                  <a:gd name="T8" fmla="*/ 32 w 63"/>
                  <a:gd name="T9" fmla="*/ 47 h 58"/>
                  <a:gd name="T10" fmla="*/ 45 w 63"/>
                  <a:gd name="T11" fmla="*/ 42 h 58"/>
                  <a:gd name="T12" fmla="*/ 44 w 63"/>
                  <a:gd name="T13" fmla="*/ 17 h 58"/>
                  <a:gd name="T14" fmla="*/ 29 w 63"/>
                  <a:gd name="T15" fmla="*/ 12 h 58"/>
                  <a:gd name="T16" fmla="*/ 9 w 63"/>
                  <a:gd name="T17" fmla="*/ 32 h 58"/>
                  <a:gd name="T18" fmla="*/ 0 w 63"/>
                  <a:gd name="T19" fmla="*/ 28 h 58"/>
                  <a:gd name="T20" fmla="*/ 27 w 63"/>
                  <a:gd name="T21" fmla="*/ 2 h 58"/>
                  <a:gd name="T22" fmla="*/ 52 w 63"/>
                  <a:gd name="T23" fmla="*/ 10 h 58"/>
                  <a:gd name="T24" fmla="*/ 53 w 63"/>
                  <a:gd name="T25" fmla="*/ 49 h 58"/>
                  <a:gd name="T26" fmla="*/ 33 w 63"/>
                  <a:gd name="T2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8">
                    <a:moveTo>
                      <a:pt x="33" y="58"/>
                    </a:moveTo>
                    <a:cubicBezTo>
                      <a:pt x="32" y="58"/>
                      <a:pt x="32" y="58"/>
                      <a:pt x="32" y="58"/>
                    </a:cubicBezTo>
                    <a:cubicBezTo>
                      <a:pt x="24" y="57"/>
                      <a:pt x="18" y="54"/>
                      <a:pt x="14" y="49"/>
                    </a:cubicBezTo>
                    <a:cubicBezTo>
                      <a:pt x="22" y="42"/>
                      <a:pt x="22" y="42"/>
                      <a:pt x="22" y="42"/>
                    </a:cubicBezTo>
                    <a:cubicBezTo>
                      <a:pt x="24" y="45"/>
                      <a:pt x="28" y="47"/>
                      <a:pt x="32" y="47"/>
                    </a:cubicBezTo>
                    <a:cubicBezTo>
                      <a:pt x="37" y="48"/>
                      <a:pt x="42" y="45"/>
                      <a:pt x="45" y="42"/>
                    </a:cubicBezTo>
                    <a:cubicBezTo>
                      <a:pt x="52" y="35"/>
                      <a:pt x="51" y="24"/>
                      <a:pt x="44" y="17"/>
                    </a:cubicBezTo>
                    <a:cubicBezTo>
                      <a:pt x="40" y="13"/>
                      <a:pt x="35" y="11"/>
                      <a:pt x="29" y="12"/>
                    </a:cubicBezTo>
                    <a:cubicBezTo>
                      <a:pt x="21" y="14"/>
                      <a:pt x="14" y="21"/>
                      <a:pt x="9" y="32"/>
                    </a:cubicBezTo>
                    <a:cubicBezTo>
                      <a:pt x="0" y="28"/>
                      <a:pt x="0" y="28"/>
                      <a:pt x="0" y="28"/>
                    </a:cubicBezTo>
                    <a:cubicBezTo>
                      <a:pt x="6" y="14"/>
                      <a:pt x="16" y="4"/>
                      <a:pt x="27" y="2"/>
                    </a:cubicBezTo>
                    <a:cubicBezTo>
                      <a:pt x="36" y="0"/>
                      <a:pt x="45" y="3"/>
                      <a:pt x="52" y="10"/>
                    </a:cubicBezTo>
                    <a:cubicBezTo>
                      <a:pt x="63" y="21"/>
                      <a:pt x="63" y="38"/>
                      <a:pt x="53" y="49"/>
                    </a:cubicBezTo>
                    <a:cubicBezTo>
                      <a:pt x="47" y="55"/>
                      <a:pt x="40" y="58"/>
                      <a:pt x="33"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6" name="Groupe 645">
            <a:extLst>
              <a:ext uri="{FF2B5EF4-FFF2-40B4-BE49-F238E27FC236}">
                <a16:creationId xmlns:a16="http://schemas.microsoft.com/office/drawing/2014/main" xmlns="" id="{E73B0376-22BC-4F9E-B49E-447CF0456D8C}"/>
              </a:ext>
            </a:extLst>
          </p:cNvPr>
          <p:cNvGrpSpPr>
            <a:grpSpLocks noChangeAspect="1"/>
          </p:cNvGrpSpPr>
          <p:nvPr/>
        </p:nvGrpSpPr>
        <p:grpSpPr>
          <a:xfrm>
            <a:off x="8839930" y="3935884"/>
            <a:ext cx="770809" cy="720000"/>
            <a:chOff x="6269038" y="2919413"/>
            <a:chExt cx="987425" cy="922338"/>
          </a:xfrm>
        </p:grpSpPr>
        <p:sp>
          <p:nvSpPr>
            <p:cNvPr id="647" name="Freeform 208">
              <a:extLst>
                <a:ext uri="{FF2B5EF4-FFF2-40B4-BE49-F238E27FC236}">
                  <a16:creationId xmlns:a16="http://schemas.microsoft.com/office/drawing/2014/main" xmlns="" id="{389DBBBF-3EF2-4043-A945-8A411402D26D}"/>
                </a:ext>
              </a:extLst>
            </p:cNvPr>
            <p:cNvSpPr>
              <a:spLocks/>
            </p:cNvSpPr>
            <p:nvPr/>
          </p:nvSpPr>
          <p:spPr bwMode="auto">
            <a:xfrm>
              <a:off x="6269038" y="2919413"/>
              <a:ext cx="987425" cy="922338"/>
            </a:xfrm>
            <a:custGeom>
              <a:avLst/>
              <a:gdLst>
                <a:gd name="T0" fmla="*/ 42 w 292"/>
                <a:gd name="T1" fmla="*/ 213 h 272"/>
                <a:gd name="T2" fmla="*/ 70 w 292"/>
                <a:gd name="T3" fmla="*/ 41 h 272"/>
                <a:gd name="T4" fmla="*/ 250 w 292"/>
                <a:gd name="T5" fmla="*/ 66 h 272"/>
                <a:gd name="T6" fmla="*/ 217 w 292"/>
                <a:gd name="T7" fmla="*/ 231 h 272"/>
                <a:gd name="T8" fmla="*/ 42 w 292"/>
                <a:gd name="T9" fmla="*/ 213 h 272"/>
              </a:gdLst>
              <a:ahLst/>
              <a:cxnLst>
                <a:cxn ang="0">
                  <a:pos x="T0" y="T1"/>
                </a:cxn>
                <a:cxn ang="0">
                  <a:pos x="T2" y="T3"/>
                </a:cxn>
                <a:cxn ang="0">
                  <a:pos x="T4" y="T5"/>
                </a:cxn>
                <a:cxn ang="0">
                  <a:pos x="T6" y="T7"/>
                </a:cxn>
                <a:cxn ang="0">
                  <a:pos x="T8" y="T9"/>
                </a:cxn>
              </a:cxnLst>
              <a:rect l="0" t="0" r="r" b="b"/>
              <a:pathLst>
                <a:path w="292" h="272">
                  <a:moveTo>
                    <a:pt x="42" y="213"/>
                  </a:moveTo>
                  <a:cubicBezTo>
                    <a:pt x="0" y="158"/>
                    <a:pt x="12" y="81"/>
                    <a:pt x="70" y="41"/>
                  </a:cubicBezTo>
                  <a:cubicBezTo>
                    <a:pt x="127" y="0"/>
                    <a:pt x="208" y="12"/>
                    <a:pt x="250" y="66"/>
                  </a:cubicBezTo>
                  <a:cubicBezTo>
                    <a:pt x="292" y="120"/>
                    <a:pt x="274" y="191"/>
                    <a:pt x="217" y="231"/>
                  </a:cubicBezTo>
                  <a:cubicBezTo>
                    <a:pt x="160" y="272"/>
                    <a:pt x="84" y="267"/>
                    <a:pt x="42" y="21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48" name="Groupe 647">
              <a:extLst>
                <a:ext uri="{FF2B5EF4-FFF2-40B4-BE49-F238E27FC236}">
                  <a16:creationId xmlns:a16="http://schemas.microsoft.com/office/drawing/2014/main" xmlns="" id="{2C23376D-FBD9-44FE-AF75-8BDDB21B20AF}"/>
                </a:ext>
              </a:extLst>
            </p:cNvPr>
            <p:cNvGrpSpPr/>
            <p:nvPr/>
          </p:nvGrpSpPr>
          <p:grpSpPr>
            <a:xfrm>
              <a:off x="6553201" y="3146426"/>
              <a:ext cx="385763" cy="454025"/>
              <a:chOff x="6553201" y="3146426"/>
              <a:chExt cx="385763" cy="454025"/>
            </a:xfrm>
          </p:grpSpPr>
          <p:sp>
            <p:nvSpPr>
              <p:cNvPr id="649" name="Freeform 209">
                <a:extLst>
                  <a:ext uri="{FF2B5EF4-FFF2-40B4-BE49-F238E27FC236}">
                    <a16:creationId xmlns:a16="http://schemas.microsoft.com/office/drawing/2014/main" xmlns="" id="{3F9C6DD0-5309-44F3-9665-D58079A1C652}"/>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210">
                <a:extLst>
                  <a:ext uri="{FF2B5EF4-FFF2-40B4-BE49-F238E27FC236}">
                    <a16:creationId xmlns:a16="http://schemas.microsoft.com/office/drawing/2014/main" xmlns="" id="{706D1929-7978-458D-8B1D-0F11849DA8B1}"/>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1" name="Freeform 211">
                <a:extLst>
                  <a:ext uri="{FF2B5EF4-FFF2-40B4-BE49-F238E27FC236}">
                    <a16:creationId xmlns:a16="http://schemas.microsoft.com/office/drawing/2014/main" xmlns="" id="{E44A44AD-C92B-4234-B3AA-BA89CE8E646E}"/>
                  </a:ext>
                </a:extLst>
              </p:cNvPr>
              <p:cNvSpPr>
                <a:spLocks/>
              </p:cNvSpPr>
              <p:nvPr/>
            </p:nvSpPr>
            <p:spPr bwMode="auto">
              <a:xfrm>
                <a:off x="6553201" y="3349626"/>
                <a:ext cx="385763" cy="250825"/>
              </a:xfrm>
              <a:custGeom>
                <a:avLst/>
                <a:gdLst>
                  <a:gd name="T0" fmla="*/ 21 w 114"/>
                  <a:gd name="T1" fmla="*/ 73 h 74"/>
                  <a:gd name="T2" fmla="*/ 93 w 114"/>
                  <a:gd name="T3" fmla="*/ 73 h 74"/>
                  <a:gd name="T4" fmla="*/ 113 w 114"/>
                  <a:gd name="T5" fmla="*/ 49 h 74"/>
                  <a:gd name="T6" fmla="*/ 113 w 114"/>
                  <a:gd name="T7" fmla="*/ 3 h 74"/>
                  <a:gd name="T8" fmla="*/ 21 w 114"/>
                  <a:gd name="T9" fmla="*/ 1 h 74"/>
                  <a:gd name="T10" fmla="*/ 0 w 114"/>
                  <a:gd name="T11" fmla="*/ 26 h 74"/>
                  <a:gd name="T12" fmla="*/ 0 w 114"/>
                  <a:gd name="T13" fmla="*/ 55 h 74"/>
                  <a:gd name="T14" fmla="*/ 21 w 114"/>
                  <a:gd name="T15" fmla="*/ 7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74">
                    <a:moveTo>
                      <a:pt x="21" y="73"/>
                    </a:moveTo>
                    <a:cubicBezTo>
                      <a:pt x="33" y="74"/>
                      <a:pt x="84" y="74"/>
                      <a:pt x="93" y="73"/>
                    </a:cubicBezTo>
                    <a:cubicBezTo>
                      <a:pt x="109" y="72"/>
                      <a:pt x="114" y="69"/>
                      <a:pt x="113" y="49"/>
                    </a:cubicBezTo>
                    <a:cubicBezTo>
                      <a:pt x="113" y="49"/>
                      <a:pt x="113" y="21"/>
                      <a:pt x="113" y="3"/>
                    </a:cubicBezTo>
                    <a:cubicBezTo>
                      <a:pt x="86" y="1"/>
                      <a:pt x="37" y="0"/>
                      <a:pt x="21" y="1"/>
                    </a:cubicBezTo>
                    <a:cubicBezTo>
                      <a:pt x="6" y="3"/>
                      <a:pt x="0" y="7"/>
                      <a:pt x="0" y="26"/>
                    </a:cubicBezTo>
                    <a:cubicBezTo>
                      <a:pt x="0" y="55"/>
                      <a:pt x="0" y="55"/>
                      <a:pt x="0" y="55"/>
                    </a:cubicBezTo>
                    <a:cubicBezTo>
                      <a:pt x="0" y="70"/>
                      <a:pt x="5" y="73"/>
                      <a:pt x="21"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212">
                <a:extLst>
                  <a:ext uri="{FF2B5EF4-FFF2-40B4-BE49-F238E27FC236}">
                    <a16:creationId xmlns:a16="http://schemas.microsoft.com/office/drawing/2014/main" xmlns="" id="{28CE1106-D8AB-45BC-85B2-774F92262969}"/>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Freeform 213">
                <a:extLst>
                  <a:ext uri="{FF2B5EF4-FFF2-40B4-BE49-F238E27FC236}">
                    <a16:creationId xmlns:a16="http://schemas.microsoft.com/office/drawing/2014/main" xmlns="" id="{29B3E482-C930-4112-B70B-76D4CEC29D22}"/>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4" name="Freeform 214">
                <a:extLst>
                  <a:ext uri="{FF2B5EF4-FFF2-40B4-BE49-F238E27FC236}">
                    <a16:creationId xmlns:a16="http://schemas.microsoft.com/office/drawing/2014/main" xmlns="" id="{E96984FF-7EFF-459F-9E4A-420099638FDB}"/>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215">
                <a:extLst>
                  <a:ext uri="{FF2B5EF4-FFF2-40B4-BE49-F238E27FC236}">
                    <a16:creationId xmlns:a16="http://schemas.microsoft.com/office/drawing/2014/main" xmlns="" id="{FB8F3EB7-86EA-41DE-AD18-9D874D900ED4}"/>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e 11">
            <a:extLst>
              <a:ext uri="{FF2B5EF4-FFF2-40B4-BE49-F238E27FC236}">
                <a16:creationId xmlns:a16="http://schemas.microsoft.com/office/drawing/2014/main" xmlns="" id="{6EE27F77-188B-43D5-B850-E9DCCE333541}"/>
              </a:ext>
            </a:extLst>
          </p:cNvPr>
          <p:cNvGrpSpPr/>
          <p:nvPr/>
        </p:nvGrpSpPr>
        <p:grpSpPr>
          <a:xfrm>
            <a:off x="681291" y="4802501"/>
            <a:ext cx="10746987" cy="138499"/>
            <a:chOff x="659156" y="4869000"/>
            <a:chExt cx="10746987" cy="138499"/>
          </a:xfrm>
        </p:grpSpPr>
        <p:sp>
          <p:nvSpPr>
            <p:cNvPr id="481" name="Rectangle 246">
              <a:extLst>
                <a:ext uri="{FF2B5EF4-FFF2-40B4-BE49-F238E27FC236}">
                  <a16:creationId xmlns:a16="http://schemas.microsoft.com/office/drawing/2014/main" xmlns="" id="{164EB168-AAFF-4343-96A5-4ADCF4193992}"/>
                </a:ext>
              </a:extLst>
            </p:cNvPr>
            <p:cNvSpPr>
              <a:spLocks noChangeArrowheads="1"/>
            </p:cNvSpPr>
            <p:nvPr/>
          </p:nvSpPr>
          <p:spPr bwMode="auto">
            <a:xfrm>
              <a:off x="659156" y="4869000"/>
              <a:ext cx="32541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Music</a:t>
              </a:r>
              <a:endParaRPr kumimoji="0" lang="fr-FR" altLang="fr-FR" sz="1200" b="0" i="0" u="none" strike="noStrike" cap="none" normalizeH="0" baseline="0">
                <a:ln>
                  <a:noFill/>
                </a:ln>
                <a:solidFill>
                  <a:schemeClr val="tx1"/>
                </a:solidFill>
                <a:effectLst/>
                <a:latin typeface="+mj-lt"/>
              </a:endParaRPr>
            </a:p>
          </p:txBody>
        </p:sp>
        <p:sp>
          <p:nvSpPr>
            <p:cNvPr id="482" name="Rectangle 247">
              <a:extLst>
                <a:ext uri="{FF2B5EF4-FFF2-40B4-BE49-F238E27FC236}">
                  <a16:creationId xmlns:a16="http://schemas.microsoft.com/office/drawing/2014/main" xmlns="" id="{41EBF2BD-A0C7-477E-91AE-5495FBE58A1E}"/>
                </a:ext>
              </a:extLst>
            </p:cNvPr>
            <p:cNvSpPr>
              <a:spLocks noChangeArrowheads="1"/>
            </p:cNvSpPr>
            <p:nvPr/>
          </p:nvSpPr>
          <p:spPr bwMode="auto">
            <a:xfrm>
              <a:off x="2483588" y="4869000"/>
              <a:ext cx="28373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ime</a:t>
              </a:r>
              <a:endParaRPr kumimoji="0" lang="fr-FR" altLang="fr-FR" sz="1200" b="0" i="0" u="none" strike="noStrike" cap="none" normalizeH="0" baseline="0" dirty="0">
                <a:ln>
                  <a:noFill/>
                </a:ln>
                <a:solidFill>
                  <a:schemeClr val="tx1"/>
                </a:solidFill>
                <a:effectLst/>
                <a:latin typeface="+mj-lt"/>
              </a:endParaRPr>
            </a:p>
          </p:txBody>
        </p:sp>
        <p:sp>
          <p:nvSpPr>
            <p:cNvPr id="521" name="Rectangle 138">
              <a:extLst>
                <a:ext uri="{FF2B5EF4-FFF2-40B4-BE49-F238E27FC236}">
                  <a16:creationId xmlns:a16="http://schemas.microsoft.com/office/drawing/2014/main" xmlns="" id="{BB11E2A3-275D-4792-AD2E-85F891AAD99B}"/>
                </a:ext>
              </a:extLst>
            </p:cNvPr>
            <p:cNvSpPr>
              <a:spLocks noChangeArrowheads="1"/>
            </p:cNvSpPr>
            <p:nvPr/>
          </p:nvSpPr>
          <p:spPr bwMode="auto">
            <a:xfrm>
              <a:off x="5304000" y="4869000"/>
              <a:ext cx="36067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peed</a:t>
              </a:r>
              <a:endParaRPr kumimoji="0" lang="fr-FR" altLang="fr-FR" sz="1200" b="0" i="0" u="none" strike="noStrike" cap="none" normalizeH="0" baseline="0" dirty="0">
                <a:ln>
                  <a:noFill/>
                </a:ln>
                <a:solidFill>
                  <a:schemeClr val="tx1"/>
                </a:solidFill>
                <a:effectLst/>
                <a:latin typeface="+mj-lt"/>
              </a:endParaRPr>
            </a:p>
          </p:txBody>
        </p:sp>
        <p:sp>
          <p:nvSpPr>
            <p:cNvPr id="527" name="Rectangle 123">
              <a:extLst>
                <a:ext uri="{FF2B5EF4-FFF2-40B4-BE49-F238E27FC236}">
                  <a16:creationId xmlns:a16="http://schemas.microsoft.com/office/drawing/2014/main" xmlns="" id="{64D190C2-F8A7-469B-ACF8-CDFE95F1AF53}"/>
                </a:ext>
              </a:extLst>
            </p:cNvPr>
            <p:cNvSpPr>
              <a:spLocks noChangeArrowheads="1"/>
            </p:cNvSpPr>
            <p:nvPr/>
          </p:nvSpPr>
          <p:spPr bwMode="auto">
            <a:xfrm>
              <a:off x="1399907" y="4869000"/>
              <a:ext cx="57547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Hourglass</a:t>
              </a:r>
              <a:endParaRPr kumimoji="0" lang="fr-FR" altLang="fr-FR" sz="1200" b="0" i="0" u="none" strike="noStrike" cap="none" normalizeH="0" baseline="0" dirty="0">
                <a:ln>
                  <a:noFill/>
                </a:ln>
                <a:solidFill>
                  <a:schemeClr val="tx1"/>
                </a:solidFill>
                <a:effectLst/>
                <a:latin typeface="+mj-lt"/>
              </a:endParaRPr>
            </a:p>
          </p:txBody>
        </p:sp>
        <p:sp>
          <p:nvSpPr>
            <p:cNvPr id="582" name="Rectangle 185">
              <a:extLst>
                <a:ext uri="{FF2B5EF4-FFF2-40B4-BE49-F238E27FC236}">
                  <a16:creationId xmlns:a16="http://schemas.microsoft.com/office/drawing/2014/main" xmlns="" id="{AD7E0ECE-1B36-4875-A64B-AFEFD2D576DA}"/>
                </a:ext>
              </a:extLst>
            </p:cNvPr>
            <p:cNvSpPr>
              <a:spLocks noChangeArrowheads="1"/>
            </p:cNvSpPr>
            <p:nvPr/>
          </p:nvSpPr>
          <p:spPr bwMode="auto">
            <a:xfrm>
              <a:off x="9069492" y="4869000"/>
              <a:ext cx="26449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Lock</a:t>
              </a:r>
              <a:endParaRPr kumimoji="0" lang="fr-FR" altLang="fr-FR" sz="1200" b="0" i="0" u="none" strike="noStrike" cap="none" normalizeH="0" baseline="0">
                <a:ln>
                  <a:noFill/>
                </a:ln>
                <a:solidFill>
                  <a:schemeClr val="tx1"/>
                </a:solidFill>
                <a:effectLst/>
                <a:latin typeface="+mj-lt"/>
              </a:endParaRPr>
            </a:p>
          </p:txBody>
        </p:sp>
        <p:sp>
          <p:nvSpPr>
            <p:cNvPr id="584" name="Rectangle 187">
              <a:extLst>
                <a:ext uri="{FF2B5EF4-FFF2-40B4-BE49-F238E27FC236}">
                  <a16:creationId xmlns:a16="http://schemas.microsoft.com/office/drawing/2014/main" xmlns="" id="{B7E4D5A5-25F7-4A32-A063-1652D4055E02}"/>
                </a:ext>
              </a:extLst>
            </p:cNvPr>
            <p:cNvSpPr>
              <a:spLocks noChangeArrowheads="1"/>
            </p:cNvSpPr>
            <p:nvPr/>
          </p:nvSpPr>
          <p:spPr bwMode="auto">
            <a:xfrm>
              <a:off x="7896000" y="4869000"/>
              <a:ext cx="7726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ower </a:t>
              </a:r>
              <a:r>
                <a:rPr kumimoji="0" lang="fr-FR" altLang="fr-FR" sz="900" b="0" i="0" u="none" strike="noStrike" cap="none" normalizeH="0" baseline="0" dirty="0" err="1">
                  <a:ln>
                    <a:noFill/>
                  </a:ln>
                  <a:solidFill>
                    <a:srgbClr val="000000"/>
                  </a:solidFill>
                  <a:effectLst/>
                  <a:latin typeface="+mj-lt"/>
                </a:rPr>
                <a:t>button</a:t>
              </a:r>
              <a:endParaRPr kumimoji="0" lang="fr-FR" altLang="fr-FR" sz="1200" b="0" i="0" u="none" strike="noStrike" cap="none" normalizeH="0" baseline="0" dirty="0">
                <a:ln>
                  <a:noFill/>
                </a:ln>
                <a:solidFill>
                  <a:schemeClr val="tx1"/>
                </a:solidFill>
                <a:effectLst/>
                <a:latin typeface="+mj-lt"/>
              </a:endParaRPr>
            </a:p>
          </p:txBody>
        </p:sp>
        <p:sp>
          <p:nvSpPr>
            <p:cNvPr id="325" name="Rectangle 97">
              <a:extLst>
                <a:ext uri="{FF2B5EF4-FFF2-40B4-BE49-F238E27FC236}">
                  <a16:creationId xmlns:a16="http://schemas.microsoft.com/office/drawing/2014/main" xmlns="" id="{218D5021-68FC-471B-B7B2-ED96CE0D8228}"/>
                </a:ext>
              </a:extLst>
            </p:cNvPr>
            <p:cNvSpPr>
              <a:spLocks noChangeArrowheads="1"/>
            </p:cNvSpPr>
            <p:nvPr/>
          </p:nvSpPr>
          <p:spPr bwMode="auto">
            <a:xfrm>
              <a:off x="10851504" y="4869000"/>
              <a:ext cx="554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Anti virus</a:t>
              </a:r>
              <a:endParaRPr kumimoji="0" lang="fr-FR" altLang="fr-FR" sz="1200" b="0" i="0" u="none" strike="noStrike" cap="none" normalizeH="0" baseline="0">
                <a:ln>
                  <a:noFill/>
                </a:ln>
                <a:solidFill>
                  <a:schemeClr val="tx1"/>
                </a:solidFill>
                <a:effectLst/>
                <a:latin typeface="+mj-lt"/>
              </a:endParaRPr>
            </a:p>
          </p:txBody>
        </p:sp>
        <p:sp>
          <p:nvSpPr>
            <p:cNvPr id="656" name="Rectangle 185">
              <a:extLst>
                <a:ext uri="{FF2B5EF4-FFF2-40B4-BE49-F238E27FC236}">
                  <a16:creationId xmlns:a16="http://schemas.microsoft.com/office/drawing/2014/main" xmlns="" id="{17472B35-D33C-4F1D-A78A-71B41EA25296}"/>
                </a:ext>
              </a:extLst>
            </p:cNvPr>
            <p:cNvSpPr>
              <a:spLocks noChangeArrowheads="1"/>
            </p:cNvSpPr>
            <p:nvPr/>
          </p:nvSpPr>
          <p:spPr bwMode="auto">
            <a:xfrm>
              <a:off x="9962499" y="4869000"/>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Unlock</a:t>
              </a:r>
              <a:endParaRPr kumimoji="0" lang="fr-FR" altLang="fr-FR" sz="1200" b="0" i="0" u="none" strike="noStrike" cap="none" normalizeH="0" baseline="0" dirty="0">
                <a:ln>
                  <a:noFill/>
                </a:ln>
                <a:solidFill>
                  <a:schemeClr val="tx1"/>
                </a:solidFill>
                <a:effectLst/>
                <a:latin typeface="+mj-lt"/>
              </a:endParaRPr>
            </a:p>
          </p:txBody>
        </p:sp>
      </p:grpSp>
      <p:grpSp>
        <p:nvGrpSpPr>
          <p:cNvPr id="687" name="Groupe 686">
            <a:extLst>
              <a:ext uri="{FF2B5EF4-FFF2-40B4-BE49-F238E27FC236}">
                <a16:creationId xmlns:a16="http://schemas.microsoft.com/office/drawing/2014/main" xmlns="" id="{E129F910-EBAD-4F0A-9670-B8E0504D4867}"/>
              </a:ext>
            </a:extLst>
          </p:cNvPr>
          <p:cNvGrpSpPr>
            <a:grpSpLocks noChangeAspect="1"/>
          </p:cNvGrpSpPr>
          <p:nvPr/>
        </p:nvGrpSpPr>
        <p:grpSpPr>
          <a:xfrm>
            <a:off x="5091361" y="5264677"/>
            <a:ext cx="766957" cy="720000"/>
            <a:chOff x="10185400" y="5483225"/>
            <a:chExt cx="855663" cy="803275"/>
          </a:xfrm>
        </p:grpSpPr>
        <p:sp>
          <p:nvSpPr>
            <p:cNvPr id="688" name="Freeform 403">
              <a:extLst>
                <a:ext uri="{FF2B5EF4-FFF2-40B4-BE49-F238E27FC236}">
                  <a16:creationId xmlns:a16="http://schemas.microsoft.com/office/drawing/2014/main" xmlns="" id="{8065C097-7FB2-4806-8F7D-3C20F57781B4}"/>
                </a:ext>
              </a:extLst>
            </p:cNvPr>
            <p:cNvSpPr>
              <a:spLocks/>
            </p:cNvSpPr>
            <p:nvPr/>
          </p:nvSpPr>
          <p:spPr bwMode="auto">
            <a:xfrm>
              <a:off x="10185400" y="5483225"/>
              <a:ext cx="855663" cy="803275"/>
            </a:xfrm>
            <a:custGeom>
              <a:avLst/>
              <a:gdLst>
                <a:gd name="T0" fmla="*/ 30 w 253"/>
                <a:gd name="T1" fmla="*/ 171 h 235"/>
                <a:gd name="T2" fmla="*/ 74 w 253"/>
                <a:gd name="T3" fmla="*/ 27 h 235"/>
                <a:gd name="T4" fmla="*/ 224 w 253"/>
                <a:gd name="T5" fmla="*/ 70 h 235"/>
                <a:gd name="T6" fmla="*/ 177 w 253"/>
                <a:gd name="T7" fmla="*/ 207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19"/>
                    <a:pt x="20" y="55"/>
                    <a:pt x="74" y="27"/>
                  </a:cubicBezTo>
                  <a:cubicBezTo>
                    <a:pt x="127" y="0"/>
                    <a:pt x="195" y="19"/>
                    <a:pt x="224" y="70"/>
                  </a:cubicBezTo>
                  <a:cubicBezTo>
                    <a:pt x="253" y="122"/>
                    <a:pt x="230" y="180"/>
                    <a:pt x="177" y="207"/>
                  </a:cubicBezTo>
                  <a:cubicBezTo>
                    <a:pt x="123" y="235"/>
                    <a:pt x="59" y="222"/>
                    <a:pt x="30"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9" name="Groupe 688">
              <a:extLst>
                <a:ext uri="{FF2B5EF4-FFF2-40B4-BE49-F238E27FC236}">
                  <a16:creationId xmlns:a16="http://schemas.microsoft.com/office/drawing/2014/main" xmlns="" id="{D93CF482-71B3-4049-91B1-A30245ECE4AB}"/>
                </a:ext>
              </a:extLst>
            </p:cNvPr>
            <p:cNvGrpSpPr/>
            <p:nvPr/>
          </p:nvGrpSpPr>
          <p:grpSpPr>
            <a:xfrm>
              <a:off x="10334625" y="5621338"/>
              <a:ext cx="530225" cy="531813"/>
              <a:chOff x="10334625" y="5621338"/>
              <a:chExt cx="530225" cy="531813"/>
            </a:xfrm>
          </p:grpSpPr>
          <p:sp>
            <p:nvSpPr>
              <p:cNvPr id="690" name="Freeform 404">
                <a:extLst>
                  <a:ext uri="{FF2B5EF4-FFF2-40B4-BE49-F238E27FC236}">
                    <a16:creationId xmlns:a16="http://schemas.microsoft.com/office/drawing/2014/main" xmlns="" id="{45460F7B-000C-4751-9A75-5EA416269877}"/>
                  </a:ext>
                </a:extLst>
              </p:cNvPr>
              <p:cNvSpPr>
                <a:spLocks/>
              </p:cNvSpPr>
              <p:nvPr/>
            </p:nvSpPr>
            <p:spPr bwMode="auto">
              <a:xfrm>
                <a:off x="10334625" y="5621338"/>
                <a:ext cx="257175" cy="255588"/>
              </a:xfrm>
              <a:custGeom>
                <a:avLst/>
                <a:gdLst>
                  <a:gd name="T0" fmla="*/ 21 w 76"/>
                  <a:gd name="T1" fmla="*/ 72 h 75"/>
                  <a:gd name="T2" fmla="*/ 73 w 76"/>
                  <a:gd name="T3" fmla="*/ 21 h 75"/>
                  <a:gd name="T4" fmla="*/ 76 w 76"/>
                  <a:gd name="T5" fmla="*/ 18 h 75"/>
                  <a:gd name="T6" fmla="*/ 76 w 76"/>
                  <a:gd name="T7" fmla="*/ 3 h 75"/>
                  <a:gd name="T8" fmla="*/ 72 w 76"/>
                  <a:gd name="T9" fmla="*/ 0 h 75"/>
                  <a:gd name="T10" fmla="*/ 1 w 76"/>
                  <a:gd name="T11" fmla="*/ 72 h 75"/>
                  <a:gd name="T12" fmla="*/ 4 w 76"/>
                  <a:gd name="T13" fmla="*/ 75 h 75"/>
                  <a:gd name="T14" fmla="*/ 18 w 76"/>
                  <a:gd name="T15" fmla="*/ 75 h 75"/>
                  <a:gd name="T16" fmla="*/ 21 w 76"/>
                  <a:gd name="T17"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21" y="72"/>
                    </a:moveTo>
                    <a:cubicBezTo>
                      <a:pt x="24" y="45"/>
                      <a:pt x="46" y="23"/>
                      <a:pt x="73" y="21"/>
                    </a:cubicBezTo>
                    <a:cubicBezTo>
                      <a:pt x="74" y="20"/>
                      <a:pt x="76" y="19"/>
                      <a:pt x="76" y="18"/>
                    </a:cubicBezTo>
                    <a:cubicBezTo>
                      <a:pt x="76" y="3"/>
                      <a:pt x="76" y="3"/>
                      <a:pt x="76" y="3"/>
                    </a:cubicBezTo>
                    <a:cubicBezTo>
                      <a:pt x="76" y="1"/>
                      <a:pt x="74" y="0"/>
                      <a:pt x="72" y="0"/>
                    </a:cubicBezTo>
                    <a:cubicBezTo>
                      <a:pt x="34" y="3"/>
                      <a:pt x="4" y="34"/>
                      <a:pt x="1" y="72"/>
                    </a:cubicBezTo>
                    <a:cubicBezTo>
                      <a:pt x="0" y="74"/>
                      <a:pt x="2" y="75"/>
                      <a:pt x="4" y="75"/>
                    </a:cubicBezTo>
                    <a:cubicBezTo>
                      <a:pt x="18" y="75"/>
                      <a:pt x="18" y="75"/>
                      <a:pt x="18" y="75"/>
                    </a:cubicBezTo>
                    <a:cubicBezTo>
                      <a:pt x="20" y="75"/>
                      <a:pt x="21" y="74"/>
                      <a:pt x="21" y="72"/>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405">
                <a:extLst>
                  <a:ext uri="{FF2B5EF4-FFF2-40B4-BE49-F238E27FC236}">
                    <a16:creationId xmlns:a16="http://schemas.microsoft.com/office/drawing/2014/main" xmlns="" id="{62903111-0C65-48C8-8A80-2E423B81C9B6}"/>
                  </a:ext>
                </a:extLst>
              </p:cNvPr>
              <p:cNvSpPr>
                <a:spLocks/>
              </p:cNvSpPr>
              <p:nvPr/>
            </p:nvSpPr>
            <p:spPr bwMode="auto">
              <a:xfrm>
                <a:off x="10610850" y="5621338"/>
                <a:ext cx="254000" cy="255588"/>
              </a:xfrm>
              <a:custGeom>
                <a:avLst/>
                <a:gdLst>
                  <a:gd name="T0" fmla="*/ 3 w 75"/>
                  <a:gd name="T1" fmla="*/ 21 h 75"/>
                  <a:gd name="T2" fmla="*/ 54 w 75"/>
                  <a:gd name="T3" fmla="*/ 72 h 75"/>
                  <a:gd name="T4" fmla="*/ 58 w 75"/>
                  <a:gd name="T5" fmla="*/ 75 h 75"/>
                  <a:gd name="T6" fmla="*/ 71 w 75"/>
                  <a:gd name="T7" fmla="*/ 75 h 75"/>
                  <a:gd name="T8" fmla="*/ 74 w 75"/>
                  <a:gd name="T9" fmla="*/ 71 h 75"/>
                  <a:gd name="T10" fmla="*/ 4 w 75"/>
                  <a:gd name="T11" fmla="*/ 0 h 75"/>
                  <a:gd name="T12" fmla="*/ 0 w 75"/>
                  <a:gd name="T13" fmla="*/ 4 h 75"/>
                  <a:gd name="T14" fmla="*/ 0 w 75"/>
                  <a:gd name="T15" fmla="*/ 17 h 75"/>
                  <a:gd name="T16" fmla="*/ 3 w 75"/>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3" y="21"/>
                    </a:moveTo>
                    <a:cubicBezTo>
                      <a:pt x="30" y="24"/>
                      <a:pt x="51" y="45"/>
                      <a:pt x="54" y="72"/>
                    </a:cubicBezTo>
                    <a:cubicBezTo>
                      <a:pt x="54" y="74"/>
                      <a:pt x="56" y="75"/>
                      <a:pt x="58" y="75"/>
                    </a:cubicBezTo>
                    <a:cubicBezTo>
                      <a:pt x="71" y="75"/>
                      <a:pt x="71" y="75"/>
                      <a:pt x="71" y="75"/>
                    </a:cubicBezTo>
                    <a:cubicBezTo>
                      <a:pt x="73" y="75"/>
                      <a:pt x="75" y="73"/>
                      <a:pt x="74" y="71"/>
                    </a:cubicBezTo>
                    <a:cubicBezTo>
                      <a:pt x="71" y="33"/>
                      <a:pt x="41" y="4"/>
                      <a:pt x="4" y="0"/>
                    </a:cubicBezTo>
                    <a:cubicBezTo>
                      <a:pt x="2" y="0"/>
                      <a:pt x="0" y="2"/>
                      <a:pt x="0" y="4"/>
                    </a:cubicBezTo>
                    <a:cubicBezTo>
                      <a:pt x="0" y="17"/>
                      <a:pt x="0" y="17"/>
                      <a:pt x="0" y="17"/>
                    </a:cubicBezTo>
                    <a:cubicBezTo>
                      <a:pt x="0" y="19"/>
                      <a:pt x="1" y="20"/>
                      <a:pt x="3"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406">
                <a:extLst>
                  <a:ext uri="{FF2B5EF4-FFF2-40B4-BE49-F238E27FC236}">
                    <a16:creationId xmlns:a16="http://schemas.microsoft.com/office/drawing/2014/main" xmlns="" id="{4E3AC6A8-59FC-4869-AB2A-003F61CEB10A}"/>
                  </a:ext>
                </a:extLst>
              </p:cNvPr>
              <p:cNvSpPr>
                <a:spLocks/>
              </p:cNvSpPr>
              <p:nvPr/>
            </p:nvSpPr>
            <p:spPr bwMode="auto">
              <a:xfrm>
                <a:off x="10610850" y="5897563"/>
                <a:ext cx="254000" cy="255588"/>
              </a:xfrm>
              <a:custGeom>
                <a:avLst/>
                <a:gdLst>
                  <a:gd name="T0" fmla="*/ 54 w 75"/>
                  <a:gd name="T1" fmla="*/ 3 h 75"/>
                  <a:gd name="T2" fmla="*/ 3 w 75"/>
                  <a:gd name="T3" fmla="*/ 55 h 75"/>
                  <a:gd name="T4" fmla="*/ 0 w 75"/>
                  <a:gd name="T5" fmla="*/ 58 h 75"/>
                  <a:gd name="T6" fmla="*/ 0 w 75"/>
                  <a:gd name="T7" fmla="*/ 72 h 75"/>
                  <a:gd name="T8" fmla="*/ 3 w 75"/>
                  <a:gd name="T9" fmla="*/ 75 h 75"/>
                  <a:gd name="T10" fmla="*/ 75 w 75"/>
                  <a:gd name="T11" fmla="*/ 4 h 75"/>
                  <a:gd name="T12" fmla="*/ 72 w 75"/>
                  <a:gd name="T13" fmla="*/ 0 h 75"/>
                  <a:gd name="T14" fmla="*/ 57 w 75"/>
                  <a:gd name="T15" fmla="*/ 0 h 75"/>
                  <a:gd name="T16" fmla="*/ 54 w 75"/>
                  <a:gd name="T1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75">
                    <a:moveTo>
                      <a:pt x="54" y="3"/>
                    </a:moveTo>
                    <a:cubicBezTo>
                      <a:pt x="52" y="30"/>
                      <a:pt x="30" y="52"/>
                      <a:pt x="3" y="55"/>
                    </a:cubicBezTo>
                    <a:cubicBezTo>
                      <a:pt x="1" y="55"/>
                      <a:pt x="0" y="56"/>
                      <a:pt x="0" y="58"/>
                    </a:cubicBezTo>
                    <a:cubicBezTo>
                      <a:pt x="0" y="72"/>
                      <a:pt x="0" y="72"/>
                      <a:pt x="0" y="72"/>
                    </a:cubicBezTo>
                    <a:cubicBezTo>
                      <a:pt x="0" y="74"/>
                      <a:pt x="1" y="75"/>
                      <a:pt x="3" y="75"/>
                    </a:cubicBezTo>
                    <a:cubicBezTo>
                      <a:pt x="41" y="72"/>
                      <a:pt x="72" y="42"/>
                      <a:pt x="75" y="4"/>
                    </a:cubicBezTo>
                    <a:cubicBezTo>
                      <a:pt x="75" y="2"/>
                      <a:pt x="73" y="0"/>
                      <a:pt x="72" y="0"/>
                    </a:cubicBezTo>
                    <a:cubicBezTo>
                      <a:pt x="57" y="0"/>
                      <a:pt x="57" y="0"/>
                      <a:pt x="57" y="0"/>
                    </a:cubicBezTo>
                    <a:cubicBezTo>
                      <a:pt x="56" y="1"/>
                      <a:pt x="55" y="2"/>
                      <a:pt x="54"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407">
                <a:extLst>
                  <a:ext uri="{FF2B5EF4-FFF2-40B4-BE49-F238E27FC236}">
                    <a16:creationId xmlns:a16="http://schemas.microsoft.com/office/drawing/2014/main" xmlns="" id="{2FDE4735-A0D5-4532-A9FD-FCED5F39F5F5}"/>
                  </a:ext>
                </a:extLst>
              </p:cNvPr>
              <p:cNvSpPr>
                <a:spLocks/>
              </p:cNvSpPr>
              <p:nvPr/>
            </p:nvSpPr>
            <p:spPr bwMode="auto">
              <a:xfrm>
                <a:off x="10334625" y="5897563"/>
                <a:ext cx="257175" cy="255588"/>
              </a:xfrm>
              <a:custGeom>
                <a:avLst/>
                <a:gdLst>
                  <a:gd name="T0" fmla="*/ 73 w 76"/>
                  <a:gd name="T1" fmla="*/ 55 h 75"/>
                  <a:gd name="T2" fmla="*/ 21 w 76"/>
                  <a:gd name="T3" fmla="*/ 3 h 75"/>
                  <a:gd name="T4" fmla="*/ 18 w 76"/>
                  <a:gd name="T5" fmla="*/ 0 h 75"/>
                  <a:gd name="T6" fmla="*/ 4 w 76"/>
                  <a:gd name="T7" fmla="*/ 0 h 75"/>
                  <a:gd name="T8" fmla="*/ 1 w 76"/>
                  <a:gd name="T9" fmla="*/ 4 h 75"/>
                  <a:gd name="T10" fmla="*/ 72 w 76"/>
                  <a:gd name="T11" fmla="*/ 75 h 75"/>
                  <a:gd name="T12" fmla="*/ 76 w 76"/>
                  <a:gd name="T13" fmla="*/ 72 h 75"/>
                  <a:gd name="T14" fmla="*/ 76 w 76"/>
                  <a:gd name="T15" fmla="*/ 58 h 75"/>
                  <a:gd name="T16" fmla="*/ 73 w 76"/>
                  <a:gd name="T1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73" y="55"/>
                    </a:moveTo>
                    <a:cubicBezTo>
                      <a:pt x="46" y="52"/>
                      <a:pt x="24" y="30"/>
                      <a:pt x="21" y="3"/>
                    </a:cubicBezTo>
                    <a:cubicBezTo>
                      <a:pt x="21" y="1"/>
                      <a:pt x="20" y="0"/>
                      <a:pt x="18" y="0"/>
                    </a:cubicBezTo>
                    <a:cubicBezTo>
                      <a:pt x="4" y="0"/>
                      <a:pt x="4" y="0"/>
                      <a:pt x="4" y="0"/>
                    </a:cubicBezTo>
                    <a:cubicBezTo>
                      <a:pt x="2" y="0"/>
                      <a:pt x="0" y="2"/>
                      <a:pt x="1" y="4"/>
                    </a:cubicBezTo>
                    <a:cubicBezTo>
                      <a:pt x="4" y="42"/>
                      <a:pt x="34" y="72"/>
                      <a:pt x="72" y="75"/>
                    </a:cubicBezTo>
                    <a:cubicBezTo>
                      <a:pt x="74" y="75"/>
                      <a:pt x="76" y="74"/>
                      <a:pt x="76" y="72"/>
                    </a:cubicBezTo>
                    <a:cubicBezTo>
                      <a:pt x="76" y="58"/>
                      <a:pt x="76" y="58"/>
                      <a:pt x="76" y="58"/>
                    </a:cubicBezTo>
                    <a:cubicBezTo>
                      <a:pt x="76" y="56"/>
                      <a:pt x="74" y="55"/>
                      <a:pt x="73" y="55"/>
                    </a:cubicBezTo>
                    <a:close/>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408">
                <a:extLst>
                  <a:ext uri="{FF2B5EF4-FFF2-40B4-BE49-F238E27FC236}">
                    <a16:creationId xmlns:a16="http://schemas.microsoft.com/office/drawing/2014/main" xmlns="" id="{5DFD3BEA-AFBE-4444-9BC9-9F83973CD8D9}"/>
                  </a:ext>
                </a:extLst>
              </p:cNvPr>
              <p:cNvSpPr>
                <a:spLocks/>
              </p:cNvSpPr>
              <p:nvPr/>
            </p:nvSpPr>
            <p:spPr bwMode="auto">
              <a:xfrm>
                <a:off x="10448925" y="5737225"/>
                <a:ext cx="146050" cy="139700"/>
              </a:xfrm>
              <a:custGeom>
                <a:avLst/>
                <a:gdLst>
                  <a:gd name="T0" fmla="*/ 4 w 43"/>
                  <a:gd name="T1" fmla="*/ 41 h 41"/>
                  <a:gd name="T2" fmla="*/ 9 w 43"/>
                  <a:gd name="T3" fmla="*/ 41 h 41"/>
                  <a:gd name="T4" fmla="*/ 12 w 43"/>
                  <a:gd name="T5" fmla="*/ 39 h 41"/>
                  <a:gd name="T6" fmla="*/ 40 w 43"/>
                  <a:gd name="T7" fmla="*/ 12 h 41"/>
                  <a:gd name="T8" fmla="*/ 43 w 43"/>
                  <a:gd name="T9" fmla="*/ 9 h 41"/>
                  <a:gd name="T10" fmla="*/ 43 w 43"/>
                  <a:gd name="T11" fmla="*/ 3 h 41"/>
                  <a:gd name="T12" fmla="*/ 39 w 43"/>
                  <a:gd name="T13" fmla="*/ 0 h 41"/>
                  <a:gd name="T14" fmla="*/ 0 w 43"/>
                  <a:gd name="T15" fmla="*/ 38 h 41"/>
                  <a:gd name="T16" fmla="*/ 4 w 4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 y="41"/>
                    </a:moveTo>
                    <a:cubicBezTo>
                      <a:pt x="9" y="41"/>
                      <a:pt x="9" y="41"/>
                      <a:pt x="9" y="41"/>
                    </a:cubicBezTo>
                    <a:cubicBezTo>
                      <a:pt x="11" y="41"/>
                      <a:pt x="12" y="40"/>
                      <a:pt x="12" y="39"/>
                    </a:cubicBezTo>
                    <a:cubicBezTo>
                      <a:pt x="15" y="25"/>
                      <a:pt x="26" y="13"/>
                      <a:pt x="40" y="12"/>
                    </a:cubicBezTo>
                    <a:cubicBezTo>
                      <a:pt x="42" y="11"/>
                      <a:pt x="43" y="10"/>
                      <a:pt x="43" y="9"/>
                    </a:cubicBezTo>
                    <a:cubicBezTo>
                      <a:pt x="43" y="3"/>
                      <a:pt x="43" y="3"/>
                      <a:pt x="43" y="3"/>
                    </a:cubicBezTo>
                    <a:cubicBezTo>
                      <a:pt x="43" y="1"/>
                      <a:pt x="41" y="0"/>
                      <a:pt x="39" y="0"/>
                    </a:cubicBezTo>
                    <a:cubicBezTo>
                      <a:pt x="19" y="2"/>
                      <a:pt x="3" y="18"/>
                      <a:pt x="0" y="38"/>
                    </a:cubicBezTo>
                    <a:cubicBezTo>
                      <a:pt x="0" y="40"/>
                      <a:pt x="2" y="41"/>
                      <a:pt x="4" y="41"/>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09">
                <a:extLst>
                  <a:ext uri="{FF2B5EF4-FFF2-40B4-BE49-F238E27FC236}">
                    <a16:creationId xmlns:a16="http://schemas.microsoft.com/office/drawing/2014/main" xmlns="" id="{3AAFFD20-EDCB-471A-9BC8-78AC616C9FD0}"/>
                  </a:ext>
                </a:extLst>
              </p:cNvPr>
              <p:cNvSpPr>
                <a:spLocks/>
              </p:cNvSpPr>
              <p:nvPr/>
            </p:nvSpPr>
            <p:spPr bwMode="auto">
              <a:xfrm>
                <a:off x="10452100" y="5897563"/>
                <a:ext cx="139700" cy="139700"/>
              </a:xfrm>
              <a:custGeom>
                <a:avLst/>
                <a:gdLst>
                  <a:gd name="T0" fmla="*/ 38 w 41"/>
                  <a:gd name="T1" fmla="*/ 30 h 41"/>
                  <a:gd name="T2" fmla="*/ 11 w 41"/>
                  <a:gd name="T3" fmla="*/ 3 h 41"/>
                  <a:gd name="T4" fmla="*/ 8 w 41"/>
                  <a:gd name="T5" fmla="*/ 0 h 41"/>
                  <a:gd name="T6" fmla="*/ 3 w 41"/>
                  <a:gd name="T7" fmla="*/ 0 h 41"/>
                  <a:gd name="T8" fmla="*/ 0 w 41"/>
                  <a:gd name="T9" fmla="*/ 4 h 41"/>
                  <a:gd name="T10" fmla="*/ 37 w 41"/>
                  <a:gd name="T11" fmla="*/ 41 h 41"/>
                  <a:gd name="T12" fmla="*/ 41 w 41"/>
                  <a:gd name="T13" fmla="*/ 38 h 41"/>
                  <a:gd name="T14" fmla="*/ 41 w 41"/>
                  <a:gd name="T15" fmla="*/ 33 h 41"/>
                  <a:gd name="T16" fmla="*/ 38 w 41"/>
                  <a:gd name="T1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38" y="30"/>
                    </a:moveTo>
                    <a:cubicBezTo>
                      <a:pt x="24" y="27"/>
                      <a:pt x="14" y="17"/>
                      <a:pt x="11" y="3"/>
                    </a:cubicBezTo>
                    <a:cubicBezTo>
                      <a:pt x="11" y="1"/>
                      <a:pt x="10" y="0"/>
                      <a:pt x="8" y="0"/>
                    </a:cubicBezTo>
                    <a:cubicBezTo>
                      <a:pt x="3" y="0"/>
                      <a:pt x="3" y="0"/>
                      <a:pt x="3" y="0"/>
                    </a:cubicBezTo>
                    <a:cubicBezTo>
                      <a:pt x="1" y="0"/>
                      <a:pt x="0" y="2"/>
                      <a:pt x="0" y="4"/>
                    </a:cubicBezTo>
                    <a:cubicBezTo>
                      <a:pt x="3" y="23"/>
                      <a:pt x="18" y="38"/>
                      <a:pt x="37" y="41"/>
                    </a:cubicBezTo>
                    <a:cubicBezTo>
                      <a:pt x="39" y="41"/>
                      <a:pt x="41" y="40"/>
                      <a:pt x="41" y="38"/>
                    </a:cubicBezTo>
                    <a:cubicBezTo>
                      <a:pt x="41" y="33"/>
                      <a:pt x="41" y="33"/>
                      <a:pt x="41" y="33"/>
                    </a:cubicBezTo>
                    <a:cubicBezTo>
                      <a:pt x="41" y="31"/>
                      <a:pt x="40"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410">
                <a:extLst>
                  <a:ext uri="{FF2B5EF4-FFF2-40B4-BE49-F238E27FC236}">
                    <a16:creationId xmlns:a16="http://schemas.microsoft.com/office/drawing/2014/main" xmlns="" id="{CD9D8609-4E53-4CDD-B4B4-41CD02538FD0}"/>
                  </a:ext>
                </a:extLst>
              </p:cNvPr>
              <p:cNvSpPr>
                <a:spLocks/>
              </p:cNvSpPr>
              <p:nvPr/>
            </p:nvSpPr>
            <p:spPr bwMode="auto">
              <a:xfrm>
                <a:off x="10610850" y="5894388"/>
                <a:ext cx="139700" cy="142875"/>
              </a:xfrm>
              <a:custGeom>
                <a:avLst/>
                <a:gdLst>
                  <a:gd name="T0" fmla="*/ 30 w 41"/>
                  <a:gd name="T1" fmla="*/ 3 h 42"/>
                  <a:gd name="T2" fmla="*/ 3 w 41"/>
                  <a:gd name="T3" fmla="*/ 31 h 42"/>
                  <a:gd name="T4" fmla="*/ 0 w 41"/>
                  <a:gd name="T5" fmla="*/ 34 h 42"/>
                  <a:gd name="T6" fmla="*/ 0 w 41"/>
                  <a:gd name="T7" fmla="*/ 39 h 42"/>
                  <a:gd name="T8" fmla="*/ 3 w 41"/>
                  <a:gd name="T9" fmla="*/ 42 h 42"/>
                  <a:gd name="T10" fmla="*/ 41 w 41"/>
                  <a:gd name="T11" fmla="*/ 3 h 42"/>
                  <a:gd name="T12" fmla="*/ 38 w 41"/>
                  <a:gd name="T13" fmla="*/ 0 h 42"/>
                  <a:gd name="T14" fmla="*/ 33 w 41"/>
                  <a:gd name="T15" fmla="*/ 0 h 42"/>
                  <a:gd name="T16" fmla="*/ 30 w 41"/>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0" y="3"/>
                    </a:moveTo>
                    <a:cubicBezTo>
                      <a:pt x="28" y="17"/>
                      <a:pt x="17" y="28"/>
                      <a:pt x="3" y="31"/>
                    </a:cubicBezTo>
                    <a:cubicBezTo>
                      <a:pt x="1" y="31"/>
                      <a:pt x="0" y="32"/>
                      <a:pt x="0" y="34"/>
                    </a:cubicBezTo>
                    <a:cubicBezTo>
                      <a:pt x="0" y="39"/>
                      <a:pt x="0" y="39"/>
                      <a:pt x="0" y="39"/>
                    </a:cubicBezTo>
                    <a:cubicBezTo>
                      <a:pt x="0" y="41"/>
                      <a:pt x="2" y="42"/>
                      <a:pt x="3" y="42"/>
                    </a:cubicBezTo>
                    <a:cubicBezTo>
                      <a:pt x="23" y="39"/>
                      <a:pt x="39" y="23"/>
                      <a:pt x="41" y="3"/>
                    </a:cubicBezTo>
                    <a:cubicBezTo>
                      <a:pt x="41" y="2"/>
                      <a:pt x="40" y="0"/>
                      <a:pt x="38" y="0"/>
                    </a:cubicBezTo>
                    <a:cubicBezTo>
                      <a:pt x="33" y="0"/>
                      <a:pt x="33" y="0"/>
                      <a:pt x="33" y="0"/>
                    </a:cubicBezTo>
                    <a:cubicBezTo>
                      <a:pt x="31" y="0"/>
                      <a:pt x="30" y="1"/>
                      <a:pt x="30" y="3"/>
                    </a:cubicBezTo>
                    <a:close/>
                  </a:path>
                </a:pathLst>
              </a:custGeom>
              <a:solidFill>
                <a:srgbClr val="9ED7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11">
                <a:extLst>
                  <a:ext uri="{FF2B5EF4-FFF2-40B4-BE49-F238E27FC236}">
                    <a16:creationId xmlns:a16="http://schemas.microsoft.com/office/drawing/2014/main" xmlns="" id="{A749CE85-5879-405A-820B-EFBB9B944AA4}"/>
                  </a:ext>
                </a:extLst>
              </p:cNvPr>
              <p:cNvSpPr>
                <a:spLocks/>
              </p:cNvSpPr>
              <p:nvPr/>
            </p:nvSpPr>
            <p:spPr bwMode="auto">
              <a:xfrm>
                <a:off x="10506075" y="5684838"/>
                <a:ext cx="271463" cy="266700"/>
              </a:xfrm>
              <a:custGeom>
                <a:avLst/>
                <a:gdLst>
                  <a:gd name="T0" fmla="*/ 1 w 80"/>
                  <a:gd name="T1" fmla="*/ 40 h 78"/>
                  <a:gd name="T2" fmla="*/ 27 w 80"/>
                  <a:gd name="T3" fmla="*/ 78 h 78"/>
                  <a:gd name="T4" fmla="*/ 80 w 80"/>
                  <a:gd name="T5" fmla="*/ 0 h 78"/>
                  <a:gd name="T6" fmla="*/ 29 w 80"/>
                  <a:gd name="T7" fmla="*/ 56 h 78"/>
                  <a:gd name="T8" fmla="*/ 2 w 80"/>
                  <a:gd name="T9" fmla="*/ 38 h 78"/>
                  <a:gd name="T10" fmla="*/ 1 w 80"/>
                  <a:gd name="T11" fmla="*/ 40 h 78"/>
                </a:gdLst>
                <a:ahLst/>
                <a:cxnLst>
                  <a:cxn ang="0">
                    <a:pos x="T0" y="T1"/>
                  </a:cxn>
                  <a:cxn ang="0">
                    <a:pos x="T2" y="T3"/>
                  </a:cxn>
                  <a:cxn ang="0">
                    <a:pos x="T4" y="T5"/>
                  </a:cxn>
                  <a:cxn ang="0">
                    <a:pos x="T6" y="T7"/>
                  </a:cxn>
                  <a:cxn ang="0">
                    <a:pos x="T8" y="T9"/>
                  </a:cxn>
                  <a:cxn ang="0">
                    <a:pos x="T10" y="T11"/>
                  </a:cxn>
                </a:cxnLst>
                <a:rect l="0" t="0" r="r" b="b"/>
                <a:pathLst>
                  <a:path w="80" h="78">
                    <a:moveTo>
                      <a:pt x="1" y="40"/>
                    </a:moveTo>
                    <a:cubicBezTo>
                      <a:pt x="27" y="78"/>
                      <a:pt x="27" y="78"/>
                      <a:pt x="27" y="78"/>
                    </a:cubicBezTo>
                    <a:cubicBezTo>
                      <a:pt x="80" y="0"/>
                      <a:pt x="80" y="0"/>
                      <a:pt x="80" y="0"/>
                    </a:cubicBezTo>
                    <a:cubicBezTo>
                      <a:pt x="29" y="56"/>
                      <a:pt x="29" y="56"/>
                      <a:pt x="29" y="56"/>
                    </a:cubicBezTo>
                    <a:cubicBezTo>
                      <a:pt x="2" y="38"/>
                      <a:pt x="2" y="38"/>
                      <a:pt x="2" y="38"/>
                    </a:cubicBezTo>
                    <a:cubicBezTo>
                      <a:pt x="1" y="38"/>
                      <a:pt x="0" y="39"/>
                      <a:pt x="1" y="40"/>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98" name="Groupe 697">
            <a:extLst>
              <a:ext uri="{FF2B5EF4-FFF2-40B4-BE49-F238E27FC236}">
                <a16:creationId xmlns:a16="http://schemas.microsoft.com/office/drawing/2014/main" xmlns="" id="{FA54E74A-1774-4D05-88CB-CB14EF68821A}"/>
              </a:ext>
            </a:extLst>
          </p:cNvPr>
          <p:cNvGrpSpPr>
            <a:grpSpLocks noChangeAspect="1"/>
          </p:cNvGrpSpPr>
          <p:nvPr/>
        </p:nvGrpSpPr>
        <p:grpSpPr>
          <a:xfrm>
            <a:off x="5119166" y="2649593"/>
            <a:ext cx="764111" cy="720000"/>
            <a:chOff x="2781300" y="5476875"/>
            <a:chExt cx="852488" cy="803275"/>
          </a:xfrm>
        </p:grpSpPr>
        <p:sp>
          <p:nvSpPr>
            <p:cNvPr id="699" name="Freeform 326">
              <a:extLst>
                <a:ext uri="{FF2B5EF4-FFF2-40B4-BE49-F238E27FC236}">
                  <a16:creationId xmlns:a16="http://schemas.microsoft.com/office/drawing/2014/main" xmlns="" id="{AFE6542A-FDF6-449E-84FD-4457D627DE34}"/>
                </a:ext>
              </a:extLst>
            </p:cNvPr>
            <p:cNvSpPr>
              <a:spLocks/>
            </p:cNvSpPr>
            <p:nvPr/>
          </p:nvSpPr>
          <p:spPr bwMode="auto">
            <a:xfrm>
              <a:off x="2781300" y="5476875"/>
              <a:ext cx="852488" cy="803275"/>
            </a:xfrm>
            <a:custGeom>
              <a:avLst/>
              <a:gdLst>
                <a:gd name="T0" fmla="*/ 36 w 252"/>
                <a:gd name="T1" fmla="*/ 184 h 235"/>
                <a:gd name="T2" fmla="*/ 60 w 252"/>
                <a:gd name="T3" fmla="*/ 35 h 235"/>
                <a:gd name="T4" fmla="*/ 215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5" y="57"/>
                  </a:cubicBezTo>
                  <a:cubicBezTo>
                    <a:pt x="252" y="104"/>
                    <a:pt x="237" y="165"/>
                    <a:pt x="187" y="200"/>
                  </a:cubicBezTo>
                  <a:cubicBezTo>
                    <a:pt x="138" y="235"/>
                    <a:pt x="72" y="231"/>
                    <a:pt x="36" y="184"/>
                  </a:cubicBezTo>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0" name="Groupe 699">
              <a:extLst>
                <a:ext uri="{FF2B5EF4-FFF2-40B4-BE49-F238E27FC236}">
                  <a16:creationId xmlns:a16="http://schemas.microsoft.com/office/drawing/2014/main" xmlns="" id="{447B1FEA-35C7-48C0-983E-EDD06C5E7A9A}"/>
                </a:ext>
              </a:extLst>
            </p:cNvPr>
            <p:cNvGrpSpPr/>
            <p:nvPr/>
          </p:nvGrpSpPr>
          <p:grpSpPr>
            <a:xfrm>
              <a:off x="2921000" y="5699125"/>
              <a:ext cx="574675" cy="334963"/>
              <a:chOff x="2921000" y="5699125"/>
              <a:chExt cx="574675" cy="334963"/>
            </a:xfrm>
          </p:grpSpPr>
          <p:sp>
            <p:nvSpPr>
              <p:cNvPr id="701" name="Freeform 327">
                <a:extLst>
                  <a:ext uri="{FF2B5EF4-FFF2-40B4-BE49-F238E27FC236}">
                    <a16:creationId xmlns:a16="http://schemas.microsoft.com/office/drawing/2014/main" xmlns=""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328">
                <a:extLst>
                  <a:ext uri="{FF2B5EF4-FFF2-40B4-BE49-F238E27FC236}">
                    <a16:creationId xmlns:a16="http://schemas.microsoft.com/office/drawing/2014/main" xmlns=""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329">
                <a:extLst>
                  <a:ext uri="{FF2B5EF4-FFF2-40B4-BE49-F238E27FC236}">
                    <a16:creationId xmlns:a16="http://schemas.microsoft.com/office/drawing/2014/main" xmlns=""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330">
                <a:extLst>
                  <a:ext uri="{FF2B5EF4-FFF2-40B4-BE49-F238E27FC236}">
                    <a16:creationId xmlns:a16="http://schemas.microsoft.com/office/drawing/2014/main" xmlns=""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331">
                <a:extLst>
                  <a:ext uri="{FF2B5EF4-FFF2-40B4-BE49-F238E27FC236}">
                    <a16:creationId xmlns:a16="http://schemas.microsoft.com/office/drawing/2014/main" xmlns=""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332">
                <a:extLst>
                  <a:ext uri="{FF2B5EF4-FFF2-40B4-BE49-F238E27FC236}">
                    <a16:creationId xmlns:a16="http://schemas.microsoft.com/office/drawing/2014/main" xmlns=""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07" name="Groupe 706">
            <a:extLst>
              <a:ext uri="{FF2B5EF4-FFF2-40B4-BE49-F238E27FC236}">
                <a16:creationId xmlns:a16="http://schemas.microsoft.com/office/drawing/2014/main" xmlns="" id="{CE94B9A0-DEAE-4FE1-BCF5-D6153C4DD98C}"/>
              </a:ext>
            </a:extLst>
          </p:cNvPr>
          <p:cNvGrpSpPr>
            <a:grpSpLocks noChangeAspect="1"/>
          </p:cNvGrpSpPr>
          <p:nvPr/>
        </p:nvGrpSpPr>
        <p:grpSpPr>
          <a:xfrm>
            <a:off x="5079167" y="3935884"/>
            <a:ext cx="768476" cy="720000"/>
            <a:chOff x="7634288" y="2700338"/>
            <a:chExt cx="855663" cy="801687"/>
          </a:xfrm>
        </p:grpSpPr>
        <p:sp>
          <p:nvSpPr>
            <p:cNvPr id="708" name="Freeform 169">
              <a:extLst>
                <a:ext uri="{FF2B5EF4-FFF2-40B4-BE49-F238E27FC236}">
                  <a16:creationId xmlns:a16="http://schemas.microsoft.com/office/drawing/2014/main" xmlns="" id="{07AA6E12-5A4B-42DA-A0A8-9EB0201122FE}"/>
                </a:ext>
              </a:extLst>
            </p:cNvPr>
            <p:cNvSpPr>
              <a:spLocks/>
            </p:cNvSpPr>
            <p:nvPr/>
          </p:nvSpPr>
          <p:spPr bwMode="auto">
            <a:xfrm>
              <a:off x="7634288" y="2700338"/>
              <a:ext cx="855663" cy="801687"/>
            </a:xfrm>
            <a:custGeom>
              <a:avLst/>
              <a:gdLst>
                <a:gd name="T0" fmla="*/ 30 w 253"/>
                <a:gd name="T1" fmla="*/ 171 h 236"/>
                <a:gd name="T2" fmla="*/ 74 w 253"/>
                <a:gd name="T3" fmla="*/ 28 h 236"/>
                <a:gd name="T4" fmla="*/ 224 w 253"/>
                <a:gd name="T5" fmla="*/ 71 h 236"/>
                <a:gd name="T6" fmla="*/ 176 w 253"/>
                <a:gd name="T7" fmla="*/ 208 h 236"/>
                <a:gd name="T8" fmla="*/ 30 w 253"/>
                <a:gd name="T9" fmla="*/ 171 h 236"/>
              </a:gdLst>
              <a:ahLst/>
              <a:cxnLst>
                <a:cxn ang="0">
                  <a:pos x="T0" y="T1"/>
                </a:cxn>
                <a:cxn ang="0">
                  <a:pos x="T2" y="T3"/>
                </a:cxn>
                <a:cxn ang="0">
                  <a:pos x="T4" y="T5"/>
                </a:cxn>
                <a:cxn ang="0">
                  <a:pos x="T6" y="T7"/>
                </a:cxn>
                <a:cxn ang="0">
                  <a:pos x="T8" y="T9"/>
                </a:cxn>
              </a:cxnLst>
              <a:rect l="0" t="0" r="r" b="b"/>
              <a:pathLst>
                <a:path w="253" h="236">
                  <a:moveTo>
                    <a:pt x="30" y="171"/>
                  </a:moveTo>
                  <a:cubicBezTo>
                    <a:pt x="0" y="120"/>
                    <a:pt x="20" y="56"/>
                    <a:pt x="74" y="28"/>
                  </a:cubicBezTo>
                  <a:cubicBezTo>
                    <a:pt x="127" y="0"/>
                    <a:pt x="194" y="19"/>
                    <a:pt x="224" y="71"/>
                  </a:cubicBezTo>
                  <a:cubicBezTo>
                    <a:pt x="253" y="122"/>
                    <a:pt x="230" y="180"/>
                    <a:pt x="176" y="208"/>
                  </a:cubicBezTo>
                  <a:cubicBezTo>
                    <a:pt x="123" y="236"/>
                    <a:pt x="59" y="223"/>
                    <a:pt x="30" y="171"/>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09" name="Groupe 708">
              <a:extLst>
                <a:ext uri="{FF2B5EF4-FFF2-40B4-BE49-F238E27FC236}">
                  <a16:creationId xmlns:a16="http://schemas.microsoft.com/office/drawing/2014/main" xmlns="" id="{E427C3C9-2845-4CF0-AE2B-0BF567C39EE6}"/>
                </a:ext>
              </a:extLst>
            </p:cNvPr>
            <p:cNvGrpSpPr/>
            <p:nvPr/>
          </p:nvGrpSpPr>
          <p:grpSpPr>
            <a:xfrm>
              <a:off x="7813675" y="2846388"/>
              <a:ext cx="500063" cy="503237"/>
              <a:chOff x="7813675" y="2846388"/>
              <a:chExt cx="500063" cy="503237"/>
            </a:xfrm>
          </p:grpSpPr>
          <p:sp>
            <p:nvSpPr>
              <p:cNvPr id="710" name="Freeform 170">
                <a:extLst>
                  <a:ext uri="{FF2B5EF4-FFF2-40B4-BE49-F238E27FC236}">
                    <a16:creationId xmlns:a16="http://schemas.microsoft.com/office/drawing/2014/main" xmlns="" id="{B80D27FA-7DAE-4B0D-A99A-012A2301B26C}"/>
                  </a:ext>
                </a:extLst>
              </p:cNvPr>
              <p:cNvSpPr>
                <a:spLocks/>
              </p:cNvSpPr>
              <p:nvPr/>
            </p:nvSpPr>
            <p:spPr bwMode="auto">
              <a:xfrm>
                <a:off x="7813675" y="2846388"/>
                <a:ext cx="500063" cy="503237"/>
              </a:xfrm>
              <a:custGeom>
                <a:avLst/>
                <a:gdLst>
                  <a:gd name="T0" fmla="*/ 9 w 148"/>
                  <a:gd name="T1" fmla="*/ 59 h 148"/>
                  <a:gd name="T2" fmla="*/ 89 w 148"/>
                  <a:gd name="T3" fmla="*/ 9 h 148"/>
                  <a:gd name="T4" fmla="*/ 139 w 148"/>
                  <a:gd name="T5" fmla="*/ 89 h 148"/>
                  <a:gd name="T6" fmla="*/ 59 w 148"/>
                  <a:gd name="T7" fmla="*/ 139 h 148"/>
                  <a:gd name="T8" fmla="*/ 9 w 148"/>
                  <a:gd name="T9" fmla="*/ 59 h 148"/>
                </a:gdLst>
                <a:ahLst/>
                <a:cxnLst>
                  <a:cxn ang="0">
                    <a:pos x="T0" y="T1"/>
                  </a:cxn>
                  <a:cxn ang="0">
                    <a:pos x="T2" y="T3"/>
                  </a:cxn>
                  <a:cxn ang="0">
                    <a:pos x="T4" y="T5"/>
                  </a:cxn>
                  <a:cxn ang="0">
                    <a:pos x="T6" y="T7"/>
                  </a:cxn>
                  <a:cxn ang="0">
                    <a:pos x="T8" y="T9"/>
                  </a:cxn>
                </a:cxnLst>
                <a:rect l="0" t="0" r="r" b="b"/>
                <a:pathLst>
                  <a:path w="148" h="148">
                    <a:moveTo>
                      <a:pt x="9" y="59"/>
                    </a:moveTo>
                    <a:cubicBezTo>
                      <a:pt x="17" y="23"/>
                      <a:pt x="53" y="0"/>
                      <a:pt x="89" y="9"/>
                    </a:cubicBezTo>
                    <a:cubicBezTo>
                      <a:pt x="125" y="17"/>
                      <a:pt x="148" y="53"/>
                      <a:pt x="139" y="89"/>
                    </a:cubicBezTo>
                    <a:cubicBezTo>
                      <a:pt x="131" y="125"/>
                      <a:pt x="95" y="148"/>
                      <a:pt x="59" y="139"/>
                    </a:cubicBezTo>
                    <a:cubicBezTo>
                      <a:pt x="23" y="131"/>
                      <a:pt x="0" y="95"/>
                      <a:pt x="9" y="59"/>
                    </a:cubicBezTo>
                    <a:close/>
                  </a:path>
                </a:pathLst>
              </a:custGeom>
              <a:solidFill>
                <a:srgbClr val="FFFFFF"/>
              </a:solidFill>
              <a:ln w="28575">
                <a:solidFill>
                  <a:schemeClr val="accent5"/>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11" name="Freeform 172">
                <a:extLst>
                  <a:ext uri="{FF2B5EF4-FFF2-40B4-BE49-F238E27FC236}">
                    <a16:creationId xmlns:a16="http://schemas.microsoft.com/office/drawing/2014/main" xmlns="" id="{67CF3384-6FAE-44B2-8B1C-F15DCF2A152A}"/>
                  </a:ext>
                </a:extLst>
              </p:cNvPr>
              <p:cNvSpPr>
                <a:spLocks/>
              </p:cNvSpPr>
              <p:nvPr/>
            </p:nvSpPr>
            <p:spPr bwMode="auto">
              <a:xfrm>
                <a:off x="8040688" y="2927350"/>
                <a:ext cx="30163" cy="47625"/>
              </a:xfrm>
              <a:custGeom>
                <a:avLst/>
                <a:gdLst>
                  <a:gd name="T0" fmla="*/ 5 w 9"/>
                  <a:gd name="T1" fmla="*/ 0 h 14"/>
                  <a:gd name="T2" fmla="*/ 1 w 9"/>
                  <a:gd name="T3" fmla="*/ 1 h 14"/>
                  <a:gd name="T4" fmla="*/ 3 w 9"/>
                  <a:gd name="T5" fmla="*/ 14 h 14"/>
                  <a:gd name="T6" fmla="*/ 7 w 9"/>
                  <a:gd name="T7" fmla="*/ 1 h 14"/>
                  <a:gd name="T8" fmla="*/ 5 w 9"/>
                  <a:gd name="T9" fmla="*/ 0 h 14"/>
                </a:gdLst>
                <a:ahLst/>
                <a:cxnLst>
                  <a:cxn ang="0">
                    <a:pos x="T0" y="T1"/>
                  </a:cxn>
                  <a:cxn ang="0">
                    <a:pos x="T2" y="T3"/>
                  </a:cxn>
                  <a:cxn ang="0">
                    <a:pos x="T4" y="T5"/>
                  </a:cxn>
                  <a:cxn ang="0">
                    <a:pos x="T6" y="T7"/>
                  </a:cxn>
                  <a:cxn ang="0">
                    <a:pos x="T8" y="T9"/>
                  </a:cxn>
                </a:cxnLst>
                <a:rect l="0" t="0" r="r" b="b"/>
                <a:pathLst>
                  <a:path w="9" h="14">
                    <a:moveTo>
                      <a:pt x="5" y="0"/>
                    </a:moveTo>
                    <a:cubicBezTo>
                      <a:pt x="3" y="0"/>
                      <a:pt x="3" y="1"/>
                      <a:pt x="1" y="1"/>
                    </a:cubicBezTo>
                    <a:cubicBezTo>
                      <a:pt x="2" y="5"/>
                      <a:pt x="0" y="11"/>
                      <a:pt x="3" y="14"/>
                    </a:cubicBezTo>
                    <a:cubicBezTo>
                      <a:pt x="9" y="14"/>
                      <a:pt x="6" y="6"/>
                      <a:pt x="7" y="1"/>
                    </a:cubicBezTo>
                    <a:cubicBezTo>
                      <a:pt x="6" y="1"/>
                      <a:pt x="5" y="0"/>
                      <a:pt x="5"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73">
                <a:extLst>
                  <a:ext uri="{FF2B5EF4-FFF2-40B4-BE49-F238E27FC236}">
                    <a16:creationId xmlns:a16="http://schemas.microsoft.com/office/drawing/2014/main" xmlns="" id="{83880BBB-6E36-4C83-916A-F57BA6557250}"/>
                  </a:ext>
                </a:extLst>
              </p:cNvPr>
              <p:cNvSpPr>
                <a:spLocks/>
              </p:cNvSpPr>
              <p:nvPr/>
            </p:nvSpPr>
            <p:spPr bwMode="auto">
              <a:xfrm>
                <a:off x="8107363" y="2947988"/>
                <a:ext cx="44450" cy="41275"/>
              </a:xfrm>
              <a:custGeom>
                <a:avLst/>
                <a:gdLst>
                  <a:gd name="T0" fmla="*/ 10 w 13"/>
                  <a:gd name="T1" fmla="*/ 0 h 12"/>
                  <a:gd name="T2" fmla="*/ 2 w 13"/>
                  <a:gd name="T3" fmla="*/ 12 h 12"/>
                  <a:gd name="T4" fmla="*/ 10 w 13"/>
                  <a:gd name="T5" fmla="*/ 0 h 12"/>
                </a:gdLst>
                <a:ahLst/>
                <a:cxnLst>
                  <a:cxn ang="0">
                    <a:pos x="T0" y="T1"/>
                  </a:cxn>
                  <a:cxn ang="0">
                    <a:pos x="T2" y="T3"/>
                  </a:cxn>
                  <a:cxn ang="0">
                    <a:pos x="T4" y="T5"/>
                  </a:cxn>
                </a:cxnLst>
                <a:rect l="0" t="0" r="r" b="b"/>
                <a:pathLst>
                  <a:path w="13" h="12">
                    <a:moveTo>
                      <a:pt x="10" y="0"/>
                    </a:moveTo>
                    <a:cubicBezTo>
                      <a:pt x="4" y="1"/>
                      <a:pt x="0" y="7"/>
                      <a:pt x="2" y="12"/>
                    </a:cubicBezTo>
                    <a:cubicBezTo>
                      <a:pt x="8" y="12"/>
                      <a:pt x="13" y="4"/>
                      <a:pt x="10"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74">
                <a:extLst>
                  <a:ext uri="{FF2B5EF4-FFF2-40B4-BE49-F238E27FC236}">
                    <a16:creationId xmlns:a16="http://schemas.microsoft.com/office/drawing/2014/main" xmlns="" id="{89B411D6-6996-4D78-9EA1-EBD0917AA010}"/>
                  </a:ext>
                </a:extLst>
              </p:cNvPr>
              <p:cNvSpPr>
                <a:spLocks/>
              </p:cNvSpPr>
              <p:nvPr/>
            </p:nvSpPr>
            <p:spPr bwMode="auto">
              <a:xfrm>
                <a:off x="7962900" y="2938463"/>
                <a:ext cx="36513" cy="50800"/>
              </a:xfrm>
              <a:custGeom>
                <a:avLst/>
                <a:gdLst>
                  <a:gd name="T0" fmla="*/ 0 w 11"/>
                  <a:gd name="T1" fmla="*/ 5 h 15"/>
                  <a:gd name="T2" fmla="*/ 9 w 11"/>
                  <a:gd name="T3" fmla="*/ 15 h 15"/>
                  <a:gd name="T4" fmla="*/ 0 w 11"/>
                  <a:gd name="T5" fmla="*/ 5 h 15"/>
                </a:gdLst>
                <a:ahLst/>
                <a:cxnLst>
                  <a:cxn ang="0">
                    <a:pos x="T0" y="T1"/>
                  </a:cxn>
                  <a:cxn ang="0">
                    <a:pos x="T2" y="T3"/>
                  </a:cxn>
                  <a:cxn ang="0">
                    <a:pos x="T4" y="T5"/>
                  </a:cxn>
                </a:cxnLst>
                <a:rect l="0" t="0" r="r" b="b"/>
                <a:pathLst>
                  <a:path w="11" h="15">
                    <a:moveTo>
                      <a:pt x="0" y="5"/>
                    </a:moveTo>
                    <a:cubicBezTo>
                      <a:pt x="2" y="9"/>
                      <a:pt x="2" y="15"/>
                      <a:pt x="9" y="15"/>
                    </a:cubicBezTo>
                    <a:cubicBezTo>
                      <a:pt x="11" y="10"/>
                      <a:pt x="5" y="0"/>
                      <a:pt x="0" y="5"/>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75">
                <a:extLst>
                  <a:ext uri="{FF2B5EF4-FFF2-40B4-BE49-F238E27FC236}">
                    <a16:creationId xmlns:a16="http://schemas.microsoft.com/office/drawing/2014/main" xmlns="" id="{4D85CA00-84B0-4191-A7AC-4A4D045B40D0}"/>
                  </a:ext>
                </a:extLst>
              </p:cNvPr>
              <p:cNvSpPr>
                <a:spLocks/>
              </p:cNvSpPr>
              <p:nvPr/>
            </p:nvSpPr>
            <p:spPr bwMode="auto">
              <a:xfrm>
                <a:off x="8020050" y="2998788"/>
                <a:ext cx="128588" cy="125412"/>
              </a:xfrm>
              <a:custGeom>
                <a:avLst/>
                <a:gdLst>
                  <a:gd name="T0" fmla="*/ 38 w 38"/>
                  <a:gd name="T1" fmla="*/ 1 h 37"/>
                  <a:gd name="T2" fmla="*/ 37 w 38"/>
                  <a:gd name="T3" fmla="*/ 2 h 37"/>
                  <a:gd name="T4" fmla="*/ 17 w 38"/>
                  <a:gd name="T5" fmla="*/ 13 h 37"/>
                  <a:gd name="T6" fmla="*/ 1 w 38"/>
                  <a:gd name="T7" fmla="*/ 30 h 37"/>
                  <a:gd name="T8" fmla="*/ 10 w 38"/>
                  <a:gd name="T9" fmla="*/ 37 h 37"/>
                  <a:gd name="T10" fmla="*/ 38 w 38"/>
                  <a:gd name="T11" fmla="*/ 1 h 37"/>
                </a:gdLst>
                <a:ahLst/>
                <a:cxnLst>
                  <a:cxn ang="0">
                    <a:pos x="T0" y="T1"/>
                  </a:cxn>
                  <a:cxn ang="0">
                    <a:pos x="T2" y="T3"/>
                  </a:cxn>
                  <a:cxn ang="0">
                    <a:pos x="T4" y="T5"/>
                  </a:cxn>
                  <a:cxn ang="0">
                    <a:pos x="T6" y="T7"/>
                  </a:cxn>
                  <a:cxn ang="0">
                    <a:pos x="T8" y="T9"/>
                  </a:cxn>
                  <a:cxn ang="0">
                    <a:pos x="T10" y="T11"/>
                  </a:cxn>
                </a:cxnLst>
                <a:rect l="0" t="0" r="r" b="b"/>
                <a:pathLst>
                  <a:path w="38" h="37">
                    <a:moveTo>
                      <a:pt x="38" y="1"/>
                    </a:moveTo>
                    <a:cubicBezTo>
                      <a:pt x="37" y="0"/>
                      <a:pt x="37" y="1"/>
                      <a:pt x="37" y="2"/>
                    </a:cubicBezTo>
                    <a:cubicBezTo>
                      <a:pt x="30" y="5"/>
                      <a:pt x="25" y="8"/>
                      <a:pt x="17" y="13"/>
                    </a:cubicBezTo>
                    <a:cubicBezTo>
                      <a:pt x="11" y="17"/>
                      <a:pt x="0" y="22"/>
                      <a:pt x="1" y="30"/>
                    </a:cubicBezTo>
                    <a:cubicBezTo>
                      <a:pt x="2" y="34"/>
                      <a:pt x="6" y="37"/>
                      <a:pt x="10" y="37"/>
                    </a:cubicBezTo>
                    <a:cubicBezTo>
                      <a:pt x="20" y="36"/>
                      <a:pt x="32" y="9"/>
                      <a:pt x="38" y="1"/>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76">
                <a:extLst>
                  <a:ext uri="{FF2B5EF4-FFF2-40B4-BE49-F238E27FC236}">
                    <a16:creationId xmlns:a16="http://schemas.microsoft.com/office/drawing/2014/main" xmlns="" id="{44200E09-BDFC-4DBF-B7EC-E729EBA5FADA}"/>
                  </a:ext>
                </a:extLst>
              </p:cNvPr>
              <p:cNvSpPr>
                <a:spLocks/>
              </p:cNvSpPr>
              <p:nvPr/>
            </p:nvSpPr>
            <p:spPr bwMode="auto">
              <a:xfrm>
                <a:off x="8161338" y="3001963"/>
                <a:ext cx="44450" cy="47625"/>
              </a:xfrm>
              <a:custGeom>
                <a:avLst/>
                <a:gdLst>
                  <a:gd name="T0" fmla="*/ 0 w 13"/>
                  <a:gd name="T1" fmla="*/ 7 h 14"/>
                  <a:gd name="T2" fmla="*/ 13 w 13"/>
                  <a:gd name="T3" fmla="*/ 2 h 14"/>
                  <a:gd name="T4" fmla="*/ 0 w 13"/>
                  <a:gd name="T5" fmla="*/ 7 h 14"/>
                </a:gdLst>
                <a:ahLst/>
                <a:cxnLst>
                  <a:cxn ang="0">
                    <a:pos x="T0" y="T1"/>
                  </a:cxn>
                  <a:cxn ang="0">
                    <a:pos x="T2" y="T3"/>
                  </a:cxn>
                  <a:cxn ang="0">
                    <a:pos x="T4" y="T5"/>
                  </a:cxn>
                </a:cxnLst>
                <a:rect l="0" t="0" r="r" b="b"/>
                <a:pathLst>
                  <a:path w="13" h="14">
                    <a:moveTo>
                      <a:pt x="0" y="7"/>
                    </a:moveTo>
                    <a:cubicBezTo>
                      <a:pt x="2" y="14"/>
                      <a:pt x="13" y="8"/>
                      <a:pt x="13" y="2"/>
                    </a:cubicBezTo>
                    <a:cubicBezTo>
                      <a:pt x="8" y="0"/>
                      <a:pt x="3" y="4"/>
                      <a:pt x="0"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177">
                <a:extLst>
                  <a:ext uri="{FF2B5EF4-FFF2-40B4-BE49-F238E27FC236}">
                    <a16:creationId xmlns:a16="http://schemas.microsoft.com/office/drawing/2014/main" xmlns="" id="{720AB111-6B6A-4463-B7BC-4EAE02EE0A23}"/>
                  </a:ext>
                </a:extLst>
              </p:cNvPr>
              <p:cNvSpPr>
                <a:spLocks/>
              </p:cNvSpPr>
              <p:nvPr/>
            </p:nvSpPr>
            <p:spPr bwMode="auto">
              <a:xfrm>
                <a:off x="7900988" y="3001963"/>
                <a:ext cx="44450" cy="38100"/>
              </a:xfrm>
              <a:custGeom>
                <a:avLst/>
                <a:gdLst>
                  <a:gd name="T0" fmla="*/ 0 w 13"/>
                  <a:gd name="T1" fmla="*/ 2 h 11"/>
                  <a:gd name="T2" fmla="*/ 11 w 13"/>
                  <a:gd name="T3" fmla="*/ 11 h 11"/>
                  <a:gd name="T4" fmla="*/ 13 w 13"/>
                  <a:gd name="T5" fmla="*/ 8 h 11"/>
                  <a:gd name="T6" fmla="*/ 0 w 13"/>
                  <a:gd name="T7" fmla="*/ 2 h 11"/>
                </a:gdLst>
                <a:ahLst/>
                <a:cxnLst>
                  <a:cxn ang="0">
                    <a:pos x="T0" y="T1"/>
                  </a:cxn>
                  <a:cxn ang="0">
                    <a:pos x="T2" y="T3"/>
                  </a:cxn>
                  <a:cxn ang="0">
                    <a:pos x="T4" y="T5"/>
                  </a:cxn>
                  <a:cxn ang="0">
                    <a:pos x="T6" y="T7"/>
                  </a:cxn>
                </a:cxnLst>
                <a:rect l="0" t="0" r="r" b="b"/>
                <a:pathLst>
                  <a:path w="13" h="11">
                    <a:moveTo>
                      <a:pt x="0" y="2"/>
                    </a:moveTo>
                    <a:cubicBezTo>
                      <a:pt x="1" y="8"/>
                      <a:pt x="6" y="9"/>
                      <a:pt x="11" y="11"/>
                    </a:cubicBezTo>
                    <a:cubicBezTo>
                      <a:pt x="12" y="9"/>
                      <a:pt x="13" y="9"/>
                      <a:pt x="13" y="8"/>
                    </a:cubicBezTo>
                    <a:cubicBezTo>
                      <a:pt x="11" y="4"/>
                      <a:pt x="6" y="0"/>
                      <a:pt x="0" y="2"/>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178">
                <a:extLst>
                  <a:ext uri="{FF2B5EF4-FFF2-40B4-BE49-F238E27FC236}">
                    <a16:creationId xmlns:a16="http://schemas.microsoft.com/office/drawing/2014/main" xmlns="" id="{5713C1E6-86CF-43A6-8525-D0A2D700EA1E}"/>
                  </a:ext>
                </a:extLst>
              </p:cNvPr>
              <p:cNvSpPr>
                <a:spLocks/>
              </p:cNvSpPr>
              <p:nvPr/>
            </p:nvSpPr>
            <p:spPr bwMode="auto">
              <a:xfrm>
                <a:off x="8175625" y="3076575"/>
                <a:ext cx="57150" cy="28575"/>
              </a:xfrm>
              <a:custGeom>
                <a:avLst/>
                <a:gdLst>
                  <a:gd name="T0" fmla="*/ 1 w 17"/>
                  <a:gd name="T1" fmla="*/ 7 h 8"/>
                  <a:gd name="T2" fmla="*/ 15 w 17"/>
                  <a:gd name="T3" fmla="*/ 7 h 8"/>
                  <a:gd name="T4" fmla="*/ 1 w 17"/>
                  <a:gd name="T5" fmla="*/ 7 h 8"/>
                </a:gdLst>
                <a:ahLst/>
                <a:cxnLst>
                  <a:cxn ang="0">
                    <a:pos x="T0" y="T1"/>
                  </a:cxn>
                  <a:cxn ang="0">
                    <a:pos x="T2" y="T3"/>
                  </a:cxn>
                  <a:cxn ang="0">
                    <a:pos x="T4" y="T5"/>
                  </a:cxn>
                </a:cxnLst>
                <a:rect l="0" t="0" r="r" b="b"/>
                <a:pathLst>
                  <a:path w="17" h="8">
                    <a:moveTo>
                      <a:pt x="1" y="7"/>
                    </a:moveTo>
                    <a:cubicBezTo>
                      <a:pt x="4" y="8"/>
                      <a:pt x="12" y="8"/>
                      <a:pt x="15" y="7"/>
                    </a:cubicBezTo>
                    <a:cubicBezTo>
                      <a:pt x="17"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179">
                <a:extLst>
                  <a:ext uri="{FF2B5EF4-FFF2-40B4-BE49-F238E27FC236}">
                    <a16:creationId xmlns:a16="http://schemas.microsoft.com/office/drawing/2014/main" xmlns="" id="{B9B222BD-9241-4831-AF9C-B3065FC9A020}"/>
                  </a:ext>
                </a:extLst>
              </p:cNvPr>
              <p:cNvSpPr>
                <a:spLocks/>
              </p:cNvSpPr>
              <p:nvPr/>
            </p:nvSpPr>
            <p:spPr bwMode="auto">
              <a:xfrm>
                <a:off x="7877175" y="3076575"/>
                <a:ext cx="53975" cy="28575"/>
              </a:xfrm>
              <a:custGeom>
                <a:avLst/>
                <a:gdLst>
                  <a:gd name="T0" fmla="*/ 1 w 16"/>
                  <a:gd name="T1" fmla="*/ 7 h 8"/>
                  <a:gd name="T2" fmla="*/ 15 w 16"/>
                  <a:gd name="T3" fmla="*/ 7 h 8"/>
                  <a:gd name="T4" fmla="*/ 1 w 16"/>
                  <a:gd name="T5" fmla="*/ 7 h 8"/>
                </a:gdLst>
                <a:ahLst/>
                <a:cxnLst>
                  <a:cxn ang="0">
                    <a:pos x="T0" y="T1"/>
                  </a:cxn>
                  <a:cxn ang="0">
                    <a:pos x="T2" y="T3"/>
                  </a:cxn>
                  <a:cxn ang="0">
                    <a:pos x="T4" y="T5"/>
                  </a:cxn>
                </a:cxnLst>
                <a:rect l="0" t="0" r="r" b="b"/>
                <a:pathLst>
                  <a:path w="16" h="8">
                    <a:moveTo>
                      <a:pt x="1" y="7"/>
                    </a:moveTo>
                    <a:cubicBezTo>
                      <a:pt x="4" y="8"/>
                      <a:pt x="12" y="8"/>
                      <a:pt x="15" y="7"/>
                    </a:cubicBezTo>
                    <a:cubicBezTo>
                      <a:pt x="16"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19" name="Groupe 718">
            <a:extLst>
              <a:ext uri="{FF2B5EF4-FFF2-40B4-BE49-F238E27FC236}">
                <a16:creationId xmlns:a16="http://schemas.microsoft.com/office/drawing/2014/main" xmlns="" id="{7A69D01E-0D33-4D90-82B4-7AE334229126}"/>
              </a:ext>
            </a:extLst>
          </p:cNvPr>
          <p:cNvGrpSpPr>
            <a:grpSpLocks noChangeAspect="1"/>
          </p:cNvGrpSpPr>
          <p:nvPr/>
        </p:nvGrpSpPr>
        <p:grpSpPr>
          <a:xfrm>
            <a:off x="3209570" y="5264677"/>
            <a:ext cx="768669" cy="720000"/>
            <a:chOff x="6423025" y="2703513"/>
            <a:chExt cx="852488" cy="798512"/>
          </a:xfrm>
        </p:grpSpPr>
        <p:sp>
          <p:nvSpPr>
            <p:cNvPr id="720" name="Freeform 185">
              <a:extLst>
                <a:ext uri="{FF2B5EF4-FFF2-40B4-BE49-F238E27FC236}">
                  <a16:creationId xmlns:a16="http://schemas.microsoft.com/office/drawing/2014/main" xmlns="" id="{0B33C540-EFD1-49E3-AF13-0A0B9FFDDF87}"/>
                </a:ext>
              </a:extLst>
            </p:cNvPr>
            <p:cNvSpPr>
              <a:spLocks/>
            </p:cNvSpPr>
            <p:nvPr/>
          </p:nvSpPr>
          <p:spPr bwMode="auto">
            <a:xfrm>
              <a:off x="6423025" y="2703513"/>
              <a:ext cx="852488" cy="798512"/>
            </a:xfrm>
            <a:custGeom>
              <a:avLst/>
              <a:gdLst>
                <a:gd name="T0" fmla="*/ 36 w 252"/>
                <a:gd name="T1" fmla="*/ 184 h 235"/>
                <a:gd name="T2" fmla="*/ 60 w 252"/>
                <a:gd name="T3" fmla="*/ 35 h 235"/>
                <a:gd name="T4" fmla="*/ 216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6" y="57"/>
                  </a:cubicBezTo>
                  <a:cubicBezTo>
                    <a:pt x="252" y="104"/>
                    <a:pt x="237" y="165"/>
                    <a:pt x="187" y="200"/>
                  </a:cubicBezTo>
                  <a:cubicBezTo>
                    <a:pt x="138" y="235"/>
                    <a:pt x="72" y="231"/>
                    <a:pt x="36" y="184"/>
                  </a:cubicBezTo>
                </a:path>
              </a:pathLst>
            </a:custGeom>
            <a:solidFill>
              <a:srgbClr val="CC15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21" name="Groupe 720">
              <a:extLst>
                <a:ext uri="{FF2B5EF4-FFF2-40B4-BE49-F238E27FC236}">
                  <a16:creationId xmlns:a16="http://schemas.microsoft.com/office/drawing/2014/main" xmlns="" id="{FCD6A26C-5561-41DA-83B4-E97C8194D2D5}"/>
                </a:ext>
              </a:extLst>
            </p:cNvPr>
            <p:cNvGrpSpPr/>
            <p:nvPr/>
          </p:nvGrpSpPr>
          <p:grpSpPr>
            <a:xfrm>
              <a:off x="6605588" y="2852738"/>
              <a:ext cx="501650" cy="493712"/>
              <a:chOff x="6605588" y="2852738"/>
              <a:chExt cx="501650" cy="493712"/>
            </a:xfrm>
          </p:grpSpPr>
          <p:sp>
            <p:nvSpPr>
              <p:cNvPr id="722" name="Freeform 186">
                <a:extLst>
                  <a:ext uri="{FF2B5EF4-FFF2-40B4-BE49-F238E27FC236}">
                    <a16:creationId xmlns:a16="http://schemas.microsoft.com/office/drawing/2014/main" xmlns="" id="{2FC699CA-3A4C-4EBB-BACC-122F242D5FD5}"/>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187">
                <a:extLst>
                  <a:ext uri="{FF2B5EF4-FFF2-40B4-BE49-F238E27FC236}">
                    <a16:creationId xmlns:a16="http://schemas.microsoft.com/office/drawing/2014/main" xmlns="" id="{0B8C349D-1A71-46D6-8174-8D3688B2A0B9}"/>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Freeform 188">
                <a:extLst>
                  <a:ext uri="{FF2B5EF4-FFF2-40B4-BE49-F238E27FC236}">
                    <a16:creationId xmlns:a16="http://schemas.microsoft.com/office/drawing/2014/main" xmlns="" id="{983A6B3A-D0E5-4E6C-B7AD-678A5F38B182}"/>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89">
                <a:extLst>
                  <a:ext uri="{FF2B5EF4-FFF2-40B4-BE49-F238E27FC236}">
                    <a16:creationId xmlns:a16="http://schemas.microsoft.com/office/drawing/2014/main" xmlns="" id="{3127E1F7-0E73-478B-A4E8-37B38D1348A3}"/>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90">
                <a:extLst>
                  <a:ext uri="{FF2B5EF4-FFF2-40B4-BE49-F238E27FC236}">
                    <a16:creationId xmlns:a16="http://schemas.microsoft.com/office/drawing/2014/main" xmlns="" id="{343BEA91-6DF1-490C-A3C3-D218C80F219D}"/>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91">
                <a:extLst>
                  <a:ext uri="{FF2B5EF4-FFF2-40B4-BE49-F238E27FC236}">
                    <a16:creationId xmlns:a16="http://schemas.microsoft.com/office/drawing/2014/main" xmlns="" id="{2A00D406-4E24-492A-AA11-BF5E1063305E}"/>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28" name="Groupe 727">
            <a:extLst>
              <a:ext uri="{FF2B5EF4-FFF2-40B4-BE49-F238E27FC236}">
                <a16:creationId xmlns:a16="http://schemas.microsoft.com/office/drawing/2014/main" xmlns="" id="{BA7C768B-D192-46EC-9FC0-30C2C285ABCB}"/>
              </a:ext>
            </a:extLst>
          </p:cNvPr>
          <p:cNvGrpSpPr>
            <a:grpSpLocks noChangeAspect="1"/>
          </p:cNvGrpSpPr>
          <p:nvPr/>
        </p:nvGrpSpPr>
        <p:grpSpPr>
          <a:xfrm>
            <a:off x="4149405" y="5264677"/>
            <a:ext cx="771532" cy="720000"/>
            <a:chOff x="8845550" y="4017963"/>
            <a:chExt cx="855663" cy="798512"/>
          </a:xfrm>
        </p:grpSpPr>
        <p:sp>
          <p:nvSpPr>
            <p:cNvPr id="729" name="Freeform 299">
              <a:extLst>
                <a:ext uri="{FF2B5EF4-FFF2-40B4-BE49-F238E27FC236}">
                  <a16:creationId xmlns:a16="http://schemas.microsoft.com/office/drawing/2014/main" xmlns="" id="{A4C66389-DA4B-4AC7-81EE-8957357AE2C1}"/>
                </a:ext>
              </a:extLst>
            </p:cNvPr>
            <p:cNvSpPr>
              <a:spLocks/>
            </p:cNvSpPr>
            <p:nvPr/>
          </p:nvSpPr>
          <p:spPr bwMode="auto">
            <a:xfrm>
              <a:off x="8845550" y="4017963"/>
              <a:ext cx="855663" cy="798512"/>
            </a:xfrm>
            <a:custGeom>
              <a:avLst/>
              <a:gdLst>
                <a:gd name="T0" fmla="*/ 30 w 253"/>
                <a:gd name="T1" fmla="*/ 171 h 235"/>
                <a:gd name="T2" fmla="*/ 74 w 253"/>
                <a:gd name="T3" fmla="*/ 28 h 235"/>
                <a:gd name="T4" fmla="*/ 224 w 253"/>
                <a:gd name="T5" fmla="*/ 70 h 235"/>
                <a:gd name="T6" fmla="*/ 177 w 253"/>
                <a:gd name="T7" fmla="*/ 208 h 235"/>
                <a:gd name="T8" fmla="*/ 30 w 253"/>
                <a:gd name="T9" fmla="*/ 171 h 235"/>
              </a:gdLst>
              <a:ahLst/>
              <a:cxnLst>
                <a:cxn ang="0">
                  <a:pos x="T0" y="T1"/>
                </a:cxn>
                <a:cxn ang="0">
                  <a:pos x="T2" y="T3"/>
                </a:cxn>
                <a:cxn ang="0">
                  <a:pos x="T4" y="T5"/>
                </a:cxn>
                <a:cxn ang="0">
                  <a:pos x="T6" y="T7"/>
                </a:cxn>
                <a:cxn ang="0">
                  <a:pos x="T8" y="T9"/>
                </a:cxn>
              </a:cxnLst>
              <a:rect l="0" t="0" r="r" b="b"/>
              <a:pathLst>
                <a:path w="253" h="235">
                  <a:moveTo>
                    <a:pt x="30" y="171"/>
                  </a:moveTo>
                  <a:cubicBezTo>
                    <a:pt x="0" y="120"/>
                    <a:pt x="20" y="55"/>
                    <a:pt x="74" y="28"/>
                  </a:cubicBezTo>
                  <a:cubicBezTo>
                    <a:pt x="127" y="0"/>
                    <a:pt x="194" y="19"/>
                    <a:pt x="224" y="70"/>
                  </a:cubicBezTo>
                  <a:cubicBezTo>
                    <a:pt x="253" y="122"/>
                    <a:pt x="230" y="180"/>
                    <a:pt x="177" y="208"/>
                  </a:cubicBezTo>
                  <a:cubicBezTo>
                    <a:pt x="123" y="235"/>
                    <a:pt x="59" y="222"/>
                    <a:pt x="30" y="171"/>
                  </a:cubicBezTo>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0" name="Groupe 729">
              <a:extLst>
                <a:ext uri="{FF2B5EF4-FFF2-40B4-BE49-F238E27FC236}">
                  <a16:creationId xmlns:a16="http://schemas.microsoft.com/office/drawing/2014/main" xmlns="" id="{B0A08DD8-617B-41CC-851A-96B424125F92}"/>
                </a:ext>
              </a:extLst>
            </p:cNvPr>
            <p:cNvGrpSpPr/>
            <p:nvPr/>
          </p:nvGrpSpPr>
          <p:grpSpPr>
            <a:xfrm>
              <a:off x="9047163" y="4187825"/>
              <a:ext cx="463550" cy="449262"/>
              <a:chOff x="9047163" y="4187825"/>
              <a:chExt cx="463550" cy="449262"/>
            </a:xfrm>
          </p:grpSpPr>
          <p:sp>
            <p:nvSpPr>
              <p:cNvPr id="731" name="Freeform 300">
                <a:extLst>
                  <a:ext uri="{FF2B5EF4-FFF2-40B4-BE49-F238E27FC236}">
                    <a16:creationId xmlns:a16="http://schemas.microsoft.com/office/drawing/2014/main" xmlns="" id="{67026B8A-2340-4CE9-A136-ADA55CE5714C}"/>
                  </a:ext>
                </a:extLst>
              </p:cNvPr>
              <p:cNvSpPr>
                <a:spLocks noEditPoints="1"/>
              </p:cNvSpPr>
              <p:nvPr/>
            </p:nvSpPr>
            <p:spPr bwMode="auto">
              <a:xfrm>
                <a:off x="9047163" y="4187825"/>
                <a:ext cx="463550" cy="449262"/>
              </a:xfrm>
              <a:custGeom>
                <a:avLst/>
                <a:gdLst>
                  <a:gd name="T0" fmla="*/ 10 w 137"/>
                  <a:gd name="T1" fmla="*/ 127 h 132"/>
                  <a:gd name="T2" fmla="*/ 29 w 137"/>
                  <a:gd name="T3" fmla="*/ 127 h 132"/>
                  <a:gd name="T4" fmla="*/ 70 w 137"/>
                  <a:gd name="T5" fmla="*/ 86 h 132"/>
                  <a:gd name="T6" fmla="*/ 120 w 137"/>
                  <a:gd name="T7" fmla="*/ 78 h 132"/>
                  <a:gd name="T8" fmla="*/ 120 w 137"/>
                  <a:gd name="T9" fmla="*/ 17 h 132"/>
                  <a:gd name="T10" fmla="*/ 59 w 137"/>
                  <a:gd name="T11" fmla="*/ 17 h 132"/>
                  <a:gd name="T12" fmla="*/ 51 w 137"/>
                  <a:gd name="T13" fmla="*/ 67 h 132"/>
                  <a:gd name="T14" fmla="*/ 0 w 137"/>
                  <a:gd name="T15" fmla="*/ 118 h 132"/>
                  <a:gd name="T16" fmla="*/ 67 w 137"/>
                  <a:gd name="T17" fmla="*/ 25 h 132"/>
                  <a:gd name="T18" fmla="*/ 112 w 137"/>
                  <a:gd name="T19" fmla="*/ 25 h 132"/>
                  <a:gd name="T20" fmla="*/ 112 w 137"/>
                  <a:gd name="T21" fmla="*/ 70 h 132"/>
                  <a:gd name="T22" fmla="*/ 67 w 137"/>
                  <a:gd name="T23" fmla="*/ 70 h 132"/>
                  <a:gd name="T24" fmla="*/ 67 w 137"/>
                  <a:gd name="T25" fmla="*/ 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2">
                    <a:moveTo>
                      <a:pt x="10" y="127"/>
                    </a:moveTo>
                    <a:cubicBezTo>
                      <a:pt x="15" y="132"/>
                      <a:pt x="24" y="132"/>
                      <a:pt x="29" y="127"/>
                    </a:cubicBezTo>
                    <a:cubicBezTo>
                      <a:pt x="70" y="86"/>
                      <a:pt x="70" y="86"/>
                      <a:pt x="70" y="86"/>
                    </a:cubicBezTo>
                    <a:cubicBezTo>
                      <a:pt x="86" y="94"/>
                      <a:pt x="106" y="91"/>
                      <a:pt x="120" y="78"/>
                    </a:cubicBezTo>
                    <a:cubicBezTo>
                      <a:pt x="137" y="61"/>
                      <a:pt x="137" y="34"/>
                      <a:pt x="120" y="17"/>
                    </a:cubicBezTo>
                    <a:cubicBezTo>
                      <a:pt x="103" y="0"/>
                      <a:pt x="76" y="0"/>
                      <a:pt x="59" y="17"/>
                    </a:cubicBezTo>
                    <a:cubicBezTo>
                      <a:pt x="46" y="30"/>
                      <a:pt x="43" y="51"/>
                      <a:pt x="51" y="67"/>
                    </a:cubicBezTo>
                    <a:cubicBezTo>
                      <a:pt x="0" y="118"/>
                      <a:pt x="0" y="118"/>
                      <a:pt x="0" y="118"/>
                    </a:cubicBezTo>
                    <a:moveTo>
                      <a:pt x="67" y="25"/>
                    </a:moveTo>
                    <a:cubicBezTo>
                      <a:pt x="79" y="12"/>
                      <a:pt x="99" y="12"/>
                      <a:pt x="112" y="25"/>
                    </a:cubicBezTo>
                    <a:cubicBezTo>
                      <a:pt x="125" y="38"/>
                      <a:pt x="125" y="58"/>
                      <a:pt x="112" y="70"/>
                    </a:cubicBezTo>
                    <a:cubicBezTo>
                      <a:pt x="99" y="83"/>
                      <a:pt x="79" y="83"/>
                      <a:pt x="67" y="70"/>
                    </a:cubicBezTo>
                    <a:cubicBezTo>
                      <a:pt x="54" y="58"/>
                      <a:pt x="54" y="37"/>
                      <a:pt x="67" y="25"/>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301">
                <a:extLst>
                  <a:ext uri="{FF2B5EF4-FFF2-40B4-BE49-F238E27FC236}">
                    <a16:creationId xmlns:a16="http://schemas.microsoft.com/office/drawing/2014/main" xmlns="" id="{0D7FFFEF-6D37-4700-BF13-81D40AA6A834}"/>
                  </a:ext>
                </a:extLst>
              </p:cNvPr>
              <p:cNvSpPr>
                <a:spLocks/>
              </p:cNvSpPr>
              <p:nvPr/>
            </p:nvSpPr>
            <p:spPr bwMode="auto">
              <a:xfrm>
                <a:off x="9271000" y="4270375"/>
                <a:ext cx="158750" cy="155575"/>
              </a:xfrm>
              <a:custGeom>
                <a:avLst/>
                <a:gdLst>
                  <a:gd name="T0" fmla="*/ 6 w 47"/>
                  <a:gd name="T1" fmla="*/ 15 h 46"/>
                  <a:gd name="T2" fmla="*/ 15 w 47"/>
                  <a:gd name="T3" fmla="*/ 15 h 46"/>
                  <a:gd name="T4" fmla="*/ 15 w 47"/>
                  <a:gd name="T5" fmla="*/ 6 h 46"/>
                  <a:gd name="T6" fmla="*/ 21 w 47"/>
                  <a:gd name="T7" fmla="*/ 0 h 46"/>
                  <a:gd name="T8" fmla="*/ 25 w 47"/>
                  <a:gd name="T9" fmla="*/ 0 h 46"/>
                  <a:gd name="T10" fmla="*/ 32 w 47"/>
                  <a:gd name="T11" fmla="*/ 6 h 46"/>
                  <a:gd name="T12" fmla="*/ 32 w 47"/>
                  <a:gd name="T13" fmla="*/ 15 h 46"/>
                  <a:gd name="T14" fmla="*/ 40 w 47"/>
                  <a:gd name="T15" fmla="*/ 15 h 46"/>
                  <a:gd name="T16" fmla="*/ 47 w 47"/>
                  <a:gd name="T17" fmla="*/ 21 h 46"/>
                  <a:gd name="T18" fmla="*/ 47 w 47"/>
                  <a:gd name="T19" fmla="*/ 25 h 46"/>
                  <a:gd name="T20" fmla="*/ 40 w 47"/>
                  <a:gd name="T21" fmla="*/ 31 h 46"/>
                  <a:gd name="T22" fmla="*/ 32 w 47"/>
                  <a:gd name="T23" fmla="*/ 31 h 46"/>
                  <a:gd name="T24" fmla="*/ 32 w 47"/>
                  <a:gd name="T25" fmla="*/ 40 h 46"/>
                  <a:gd name="T26" fmla="*/ 25 w 47"/>
                  <a:gd name="T27" fmla="*/ 46 h 46"/>
                  <a:gd name="T28" fmla="*/ 21 w 47"/>
                  <a:gd name="T29" fmla="*/ 46 h 46"/>
                  <a:gd name="T30" fmla="*/ 15 w 47"/>
                  <a:gd name="T31" fmla="*/ 40 h 46"/>
                  <a:gd name="T32" fmla="*/ 15 w 47"/>
                  <a:gd name="T33" fmla="*/ 31 h 46"/>
                  <a:gd name="T34" fmla="*/ 6 w 47"/>
                  <a:gd name="T35" fmla="*/ 31 h 46"/>
                  <a:gd name="T36" fmla="*/ 0 w 47"/>
                  <a:gd name="T37" fmla="*/ 25 h 46"/>
                  <a:gd name="T38" fmla="*/ 0 w 47"/>
                  <a:gd name="T39" fmla="*/ 21 h 46"/>
                  <a:gd name="T40" fmla="*/ 6 w 47"/>
                  <a:gd name="T41" fmla="*/ 1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6">
                    <a:moveTo>
                      <a:pt x="6" y="15"/>
                    </a:moveTo>
                    <a:cubicBezTo>
                      <a:pt x="15" y="15"/>
                      <a:pt x="15" y="15"/>
                      <a:pt x="15" y="15"/>
                    </a:cubicBezTo>
                    <a:cubicBezTo>
                      <a:pt x="15" y="6"/>
                      <a:pt x="15" y="6"/>
                      <a:pt x="15" y="6"/>
                    </a:cubicBezTo>
                    <a:cubicBezTo>
                      <a:pt x="15" y="2"/>
                      <a:pt x="18" y="0"/>
                      <a:pt x="21" y="0"/>
                    </a:cubicBezTo>
                    <a:cubicBezTo>
                      <a:pt x="25" y="0"/>
                      <a:pt x="25" y="0"/>
                      <a:pt x="25" y="0"/>
                    </a:cubicBezTo>
                    <a:cubicBezTo>
                      <a:pt x="29" y="0"/>
                      <a:pt x="32" y="2"/>
                      <a:pt x="32" y="6"/>
                    </a:cubicBezTo>
                    <a:cubicBezTo>
                      <a:pt x="32" y="15"/>
                      <a:pt x="32" y="15"/>
                      <a:pt x="32" y="15"/>
                    </a:cubicBezTo>
                    <a:cubicBezTo>
                      <a:pt x="40" y="15"/>
                      <a:pt x="40" y="15"/>
                      <a:pt x="40" y="15"/>
                    </a:cubicBezTo>
                    <a:cubicBezTo>
                      <a:pt x="44" y="15"/>
                      <a:pt x="47" y="17"/>
                      <a:pt x="47" y="21"/>
                    </a:cubicBezTo>
                    <a:cubicBezTo>
                      <a:pt x="47" y="25"/>
                      <a:pt x="47" y="25"/>
                      <a:pt x="47" y="25"/>
                    </a:cubicBezTo>
                    <a:cubicBezTo>
                      <a:pt x="47" y="28"/>
                      <a:pt x="44" y="31"/>
                      <a:pt x="40" y="31"/>
                    </a:cubicBezTo>
                    <a:cubicBezTo>
                      <a:pt x="32" y="31"/>
                      <a:pt x="32" y="31"/>
                      <a:pt x="32" y="31"/>
                    </a:cubicBezTo>
                    <a:cubicBezTo>
                      <a:pt x="32" y="40"/>
                      <a:pt x="32" y="40"/>
                      <a:pt x="32" y="40"/>
                    </a:cubicBezTo>
                    <a:cubicBezTo>
                      <a:pt x="32" y="43"/>
                      <a:pt x="29" y="46"/>
                      <a:pt x="25" y="46"/>
                    </a:cubicBezTo>
                    <a:cubicBezTo>
                      <a:pt x="21" y="46"/>
                      <a:pt x="21" y="46"/>
                      <a:pt x="21" y="46"/>
                    </a:cubicBezTo>
                    <a:cubicBezTo>
                      <a:pt x="18" y="46"/>
                      <a:pt x="15" y="43"/>
                      <a:pt x="15" y="40"/>
                    </a:cubicBezTo>
                    <a:cubicBezTo>
                      <a:pt x="15" y="31"/>
                      <a:pt x="15" y="31"/>
                      <a:pt x="15" y="31"/>
                    </a:cubicBezTo>
                    <a:cubicBezTo>
                      <a:pt x="6" y="31"/>
                      <a:pt x="6" y="31"/>
                      <a:pt x="6" y="31"/>
                    </a:cubicBezTo>
                    <a:cubicBezTo>
                      <a:pt x="3" y="31"/>
                      <a:pt x="0" y="28"/>
                      <a:pt x="0" y="25"/>
                    </a:cubicBezTo>
                    <a:cubicBezTo>
                      <a:pt x="0" y="21"/>
                      <a:pt x="0" y="21"/>
                      <a:pt x="0" y="21"/>
                    </a:cubicBezTo>
                    <a:cubicBezTo>
                      <a:pt x="0" y="17"/>
                      <a:pt x="3" y="15"/>
                      <a:pt x="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37" name="Groupe 736">
            <a:extLst>
              <a:ext uri="{FF2B5EF4-FFF2-40B4-BE49-F238E27FC236}">
                <a16:creationId xmlns:a16="http://schemas.microsoft.com/office/drawing/2014/main" xmlns="" id="{EFB22570-A407-47C2-93F8-E7110426A259}"/>
              </a:ext>
            </a:extLst>
          </p:cNvPr>
          <p:cNvGrpSpPr>
            <a:grpSpLocks noChangeAspect="1"/>
          </p:cNvGrpSpPr>
          <p:nvPr/>
        </p:nvGrpSpPr>
        <p:grpSpPr>
          <a:xfrm>
            <a:off x="10721156" y="2591366"/>
            <a:ext cx="771532" cy="720000"/>
            <a:chOff x="3995738" y="4014788"/>
            <a:chExt cx="855663" cy="798512"/>
          </a:xfrm>
        </p:grpSpPr>
        <p:sp>
          <p:nvSpPr>
            <p:cNvPr id="738" name="Freeform 264">
              <a:extLst>
                <a:ext uri="{FF2B5EF4-FFF2-40B4-BE49-F238E27FC236}">
                  <a16:creationId xmlns:a16="http://schemas.microsoft.com/office/drawing/2014/main" xmlns="" id="{7337933A-98CC-4DE8-AE85-990DF0282A13}"/>
                </a:ext>
              </a:extLst>
            </p:cNvPr>
            <p:cNvSpPr>
              <a:spLocks/>
            </p:cNvSpPr>
            <p:nvPr/>
          </p:nvSpPr>
          <p:spPr bwMode="auto">
            <a:xfrm>
              <a:off x="3995738" y="4014788"/>
              <a:ext cx="855663" cy="798512"/>
            </a:xfrm>
            <a:custGeom>
              <a:avLst/>
              <a:gdLst>
                <a:gd name="T0" fmla="*/ 29 w 253"/>
                <a:gd name="T1" fmla="*/ 171 h 235"/>
                <a:gd name="T2" fmla="*/ 73 w 253"/>
                <a:gd name="T3" fmla="*/ 27 h 235"/>
                <a:gd name="T4" fmla="*/ 223 w 253"/>
                <a:gd name="T5" fmla="*/ 70 h 235"/>
                <a:gd name="T6" fmla="*/ 176 w 253"/>
                <a:gd name="T7" fmla="*/ 207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19"/>
                    <a:pt x="19" y="55"/>
                    <a:pt x="73" y="27"/>
                  </a:cubicBezTo>
                  <a:cubicBezTo>
                    <a:pt x="127" y="0"/>
                    <a:pt x="194" y="19"/>
                    <a:pt x="223" y="70"/>
                  </a:cubicBezTo>
                  <a:cubicBezTo>
                    <a:pt x="253" y="122"/>
                    <a:pt x="230" y="180"/>
                    <a:pt x="176" y="207"/>
                  </a:cubicBezTo>
                  <a:cubicBezTo>
                    <a:pt x="123" y="235"/>
                    <a:pt x="58"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9" name="Groupe 738">
              <a:extLst>
                <a:ext uri="{FF2B5EF4-FFF2-40B4-BE49-F238E27FC236}">
                  <a16:creationId xmlns:a16="http://schemas.microsoft.com/office/drawing/2014/main" xmlns="" id="{5B9BC9B6-39A0-4EF3-9FC5-0D0ABD8FC0E8}"/>
                </a:ext>
              </a:extLst>
            </p:cNvPr>
            <p:cNvGrpSpPr/>
            <p:nvPr/>
          </p:nvGrpSpPr>
          <p:grpSpPr>
            <a:xfrm>
              <a:off x="4217988" y="4198938"/>
              <a:ext cx="406400" cy="411162"/>
              <a:chOff x="4217988" y="4198938"/>
              <a:chExt cx="406400" cy="411162"/>
            </a:xfrm>
          </p:grpSpPr>
          <p:sp>
            <p:nvSpPr>
              <p:cNvPr id="740" name="Freeform 265">
                <a:extLst>
                  <a:ext uri="{FF2B5EF4-FFF2-40B4-BE49-F238E27FC236}">
                    <a16:creationId xmlns:a16="http://schemas.microsoft.com/office/drawing/2014/main" xmlns="" id="{FD19E96E-957A-4B49-9C8A-982872B02A63}"/>
                  </a:ext>
                </a:extLst>
              </p:cNvPr>
              <p:cNvSpPr>
                <a:spLocks/>
              </p:cNvSpPr>
              <p:nvPr/>
            </p:nvSpPr>
            <p:spPr bwMode="auto">
              <a:xfrm>
                <a:off x="4235450" y="4252913"/>
                <a:ext cx="388938" cy="357187"/>
              </a:xfrm>
              <a:custGeom>
                <a:avLst/>
                <a:gdLst>
                  <a:gd name="T0" fmla="*/ 77 w 115"/>
                  <a:gd name="T1" fmla="*/ 1 h 105"/>
                  <a:gd name="T2" fmla="*/ 5 w 115"/>
                  <a:gd name="T3" fmla="*/ 1 h 105"/>
                  <a:gd name="T4" fmla="*/ 0 w 115"/>
                  <a:gd name="T5" fmla="*/ 25 h 105"/>
                  <a:gd name="T6" fmla="*/ 4 w 115"/>
                  <a:gd name="T7" fmla="*/ 97 h 105"/>
                  <a:gd name="T8" fmla="*/ 104 w 115"/>
                  <a:gd name="T9" fmla="*/ 94 h 105"/>
                  <a:gd name="T10" fmla="*/ 102 w 115"/>
                  <a:gd name="T11" fmla="*/ 34 h 105"/>
                  <a:gd name="T12" fmla="*/ 100 w 115"/>
                  <a:gd name="T13" fmla="*/ 8 h 105"/>
                  <a:gd name="T14" fmla="*/ 99 w 115"/>
                  <a:gd name="T15" fmla="*/ 0 h 105"/>
                  <a:gd name="T16" fmla="*/ 77 w 115"/>
                  <a:gd name="T17"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5">
                    <a:moveTo>
                      <a:pt x="77" y="1"/>
                    </a:moveTo>
                    <a:cubicBezTo>
                      <a:pt x="77" y="1"/>
                      <a:pt x="22" y="11"/>
                      <a:pt x="5" y="1"/>
                    </a:cubicBezTo>
                    <a:cubicBezTo>
                      <a:pt x="0" y="25"/>
                      <a:pt x="0" y="25"/>
                      <a:pt x="0" y="25"/>
                    </a:cubicBezTo>
                    <a:cubicBezTo>
                      <a:pt x="4" y="97"/>
                      <a:pt x="4" y="97"/>
                      <a:pt x="4" y="97"/>
                    </a:cubicBezTo>
                    <a:cubicBezTo>
                      <a:pt x="4" y="97"/>
                      <a:pt x="92" y="105"/>
                      <a:pt x="104" y="94"/>
                    </a:cubicBezTo>
                    <a:cubicBezTo>
                      <a:pt x="115" y="83"/>
                      <a:pt x="102" y="34"/>
                      <a:pt x="102" y="34"/>
                    </a:cubicBezTo>
                    <a:cubicBezTo>
                      <a:pt x="100" y="8"/>
                      <a:pt x="100" y="8"/>
                      <a:pt x="100" y="8"/>
                    </a:cubicBezTo>
                    <a:cubicBezTo>
                      <a:pt x="99" y="0"/>
                      <a:pt x="99" y="0"/>
                      <a:pt x="99" y="0"/>
                    </a:cubicBezTo>
                    <a:lnTo>
                      <a:pt x="77" y="1"/>
                    </a:ln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266">
                <a:extLst>
                  <a:ext uri="{FF2B5EF4-FFF2-40B4-BE49-F238E27FC236}">
                    <a16:creationId xmlns:a16="http://schemas.microsoft.com/office/drawing/2014/main" xmlns="" id="{BAD137C2-AFE2-4DB6-94D2-3E29603A5E0E}"/>
                  </a:ext>
                </a:extLst>
              </p:cNvPr>
              <p:cNvSpPr>
                <a:spLocks/>
              </p:cNvSpPr>
              <p:nvPr/>
            </p:nvSpPr>
            <p:spPr bwMode="auto">
              <a:xfrm>
                <a:off x="4316413" y="4198938"/>
                <a:ext cx="304800" cy="342900"/>
              </a:xfrm>
              <a:custGeom>
                <a:avLst/>
                <a:gdLst>
                  <a:gd name="T0" fmla="*/ 88 w 90"/>
                  <a:gd name="T1" fmla="*/ 2 h 101"/>
                  <a:gd name="T2" fmla="*/ 86 w 90"/>
                  <a:gd name="T3" fmla="*/ 1 h 101"/>
                  <a:gd name="T4" fmla="*/ 80 w 90"/>
                  <a:gd name="T5" fmla="*/ 2 h 101"/>
                  <a:gd name="T6" fmla="*/ 36 w 90"/>
                  <a:gd name="T7" fmla="*/ 64 h 101"/>
                  <a:gd name="T8" fmla="*/ 27 w 90"/>
                  <a:gd name="T9" fmla="*/ 46 h 101"/>
                  <a:gd name="T10" fmla="*/ 26 w 90"/>
                  <a:gd name="T11" fmla="*/ 46 h 101"/>
                  <a:gd name="T12" fmla="*/ 20 w 90"/>
                  <a:gd name="T13" fmla="*/ 43 h 101"/>
                  <a:gd name="T14" fmla="*/ 10 w 90"/>
                  <a:gd name="T15" fmla="*/ 46 h 101"/>
                  <a:gd name="T16" fmla="*/ 3 w 90"/>
                  <a:gd name="T17" fmla="*/ 61 h 101"/>
                  <a:gd name="T18" fmla="*/ 4 w 90"/>
                  <a:gd name="T19" fmla="*/ 61 h 101"/>
                  <a:gd name="T20" fmla="*/ 31 w 90"/>
                  <a:gd name="T21" fmla="*/ 99 h 101"/>
                  <a:gd name="T22" fmla="*/ 35 w 90"/>
                  <a:gd name="T23" fmla="*/ 101 h 101"/>
                  <a:gd name="T24" fmla="*/ 35 w 90"/>
                  <a:gd name="T25" fmla="*/ 101 h 101"/>
                  <a:gd name="T26" fmla="*/ 39 w 90"/>
                  <a:gd name="T27" fmla="*/ 98 h 101"/>
                  <a:gd name="T28" fmla="*/ 89 w 90"/>
                  <a:gd name="T29" fmla="*/ 8 h 101"/>
                  <a:gd name="T30" fmla="*/ 88 w 90"/>
                  <a:gd name="T31"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1">
                    <a:moveTo>
                      <a:pt x="88" y="2"/>
                    </a:moveTo>
                    <a:cubicBezTo>
                      <a:pt x="86" y="1"/>
                      <a:pt x="86" y="1"/>
                      <a:pt x="86" y="1"/>
                    </a:cubicBezTo>
                    <a:cubicBezTo>
                      <a:pt x="84" y="0"/>
                      <a:pt x="82" y="0"/>
                      <a:pt x="80" y="2"/>
                    </a:cubicBezTo>
                    <a:cubicBezTo>
                      <a:pt x="36" y="64"/>
                      <a:pt x="36" y="64"/>
                      <a:pt x="36" y="64"/>
                    </a:cubicBezTo>
                    <a:cubicBezTo>
                      <a:pt x="27" y="46"/>
                      <a:pt x="27" y="46"/>
                      <a:pt x="27" y="46"/>
                    </a:cubicBezTo>
                    <a:cubicBezTo>
                      <a:pt x="27" y="46"/>
                      <a:pt x="27" y="46"/>
                      <a:pt x="26" y="46"/>
                    </a:cubicBezTo>
                    <a:cubicBezTo>
                      <a:pt x="26" y="45"/>
                      <a:pt x="24" y="43"/>
                      <a:pt x="20" y="43"/>
                    </a:cubicBezTo>
                    <a:cubicBezTo>
                      <a:pt x="17" y="43"/>
                      <a:pt x="13" y="44"/>
                      <a:pt x="10" y="46"/>
                    </a:cubicBezTo>
                    <a:cubicBezTo>
                      <a:pt x="3" y="50"/>
                      <a:pt x="0" y="57"/>
                      <a:pt x="3" y="61"/>
                    </a:cubicBezTo>
                    <a:cubicBezTo>
                      <a:pt x="4" y="61"/>
                      <a:pt x="4" y="61"/>
                      <a:pt x="4" y="61"/>
                    </a:cubicBezTo>
                    <a:cubicBezTo>
                      <a:pt x="31" y="99"/>
                      <a:pt x="31" y="99"/>
                      <a:pt x="31" y="99"/>
                    </a:cubicBezTo>
                    <a:cubicBezTo>
                      <a:pt x="32" y="100"/>
                      <a:pt x="34" y="101"/>
                      <a:pt x="35" y="101"/>
                    </a:cubicBezTo>
                    <a:cubicBezTo>
                      <a:pt x="35" y="101"/>
                      <a:pt x="35" y="101"/>
                      <a:pt x="35" y="101"/>
                    </a:cubicBezTo>
                    <a:cubicBezTo>
                      <a:pt x="37" y="101"/>
                      <a:pt x="38" y="100"/>
                      <a:pt x="39" y="98"/>
                    </a:cubicBezTo>
                    <a:cubicBezTo>
                      <a:pt x="89" y="8"/>
                      <a:pt x="89" y="8"/>
                      <a:pt x="89" y="8"/>
                    </a:cubicBezTo>
                    <a:cubicBezTo>
                      <a:pt x="90" y="6"/>
                      <a:pt x="90" y="3"/>
                      <a:pt x="88" y="2"/>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267">
                <a:extLst>
                  <a:ext uri="{FF2B5EF4-FFF2-40B4-BE49-F238E27FC236}">
                    <a16:creationId xmlns:a16="http://schemas.microsoft.com/office/drawing/2014/main" xmlns="" id="{EF8AD6ED-5748-46D2-808C-9ED3610D89B7}"/>
                  </a:ext>
                </a:extLst>
              </p:cNvPr>
              <p:cNvSpPr>
                <a:spLocks/>
              </p:cNvSpPr>
              <p:nvPr/>
            </p:nvSpPr>
            <p:spPr bwMode="auto">
              <a:xfrm>
                <a:off x="4217988" y="4240213"/>
                <a:ext cx="385763" cy="366712"/>
              </a:xfrm>
              <a:custGeom>
                <a:avLst/>
                <a:gdLst>
                  <a:gd name="T0" fmla="*/ 45 w 114"/>
                  <a:gd name="T1" fmla="*/ 108 h 108"/>
                  <a:gd name="T2" fmla="*/ 10 w 114"/>
                  <a:gd name="T3" fmla="*/ 107 h 108"/>
                  <a:gd name="T4" fmla="*/ 6 w 114"/>
                  <a:gd name="T5" fmla="*/ 107 h 108"/>
                  <a:gd name="T6" fmla="*/ 5 w 114"/>
                  <a:gd name="T7" fmla="*/ 103 h 108"/>
                  <a:gd name="T8" fmla="*/ 2 w 114"/>
                  <a:gd name="T9" fmla="*/ 56 h 108"/>
                  <a:gd name="T10" fmla="*/ 8 w 114"/>
                  <a:gd name="T11" fmla="*/ 2 h 108"/>
                  <a:gd name="T12" fmla="*/ 15 w 114"/>
                  <a:gd name="T13" fmla="*/ 3 h 108"/>
                  <a:gd name="T14" fmla="*/ 102 w 114"/>
                  <a:gd name="T15" fmla="*/ 0 h 108"/>
                  <a:gd name="T16" fmla="*/ 94 w 114"/>
                  <a:gd name="T17" fmla="*/ 11 h 108"/>
                  <a:gd name="T18" fmla="*/ 12 w 114"/>
                  <a:gd name="T19" fmla="*/ 12 h 108"/>
                  <a:gd name="T20" fmla="*/ 14 w 114"/>
                  <a:gd name="T21" fmla="*/ 98 h 108"/>
                  <a:gd name="T22" fmla="*/ 104 w 114"/>
                  <a:gd name="T23" fmla="*/ 95 h 108"/>
                  <a:gd name="T24" fmla="*/ 101 w 114"/>
                  <a:gd name="T25" fmla="*/ 25 h 108"/>
                  <a:gd name="T26" fmla="*/ 111 w 114"/>
                  <a:gd name="T27" fmla="*/ 9 h 108"/>
                  <a:gd name="T28" fmla="*/ 114 w 114"/>
                  <a:gd name="T29" fmla="*/ 101 h 108"/>
                  <a:gd name="T30" fmla="*/ 111 w 114"/>
                  <a:gd name="T31" fmla="*/ 102 h 108"/>
                  <a:gd name="T32" fmla="*/ 45 w 114"/>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08">
                    <a:moveTo>
                      <a:pt x="45" y="108"/>
                    </a:moveTo>
                    <a:cubicBezTo>
                      <a:pt x="26" y="108"/>
                      <a:pt x="11" y="107"/>
                      <a:pt x="10" y="107"/>
                    </a:cubicBezTo>
                    <a:cubicBezTo>
                      <a:pt x="6" y="107"/>
                      <a:pt x="6" y="107"/>
                      <a:pt x="6" y="107"/>
                    </a:cubicBezTo>
                    <a:cubicBezTo>
                      <a:pt x="5" y="103"/>
                      <a:pt x="5" y="103"/>
                      <a:pt x="5" y="103"/>
                    </a:cubicBezTo>
                    <a:cubicBezTo>
                      <a:pt x="5" y="103"/>
                      <a:pt x="3" y="80"/>
                      <a:pt x="2" y="56"/>
                    </a:cubicBezTo>
                    <a:cubicBezTo>
                      <a:pt x="0" y="6"/>
                      <a:pt x="5" y="4"/>
                      <a:pt x="8" y="2"/>
                    </a:cubicBezTo>
                    <a:cubicBezTo>
                      <a:pt x="10" y="1"/>
                      <a:pt x="13" y="1"/>
                      <a:pt x="15" y="3"/>
                    </a:cubicBezTo>
                    <a:cubicBezTo>
                      <a:pt x="21" y="8"/>
                      <a:pt x="81" y="3"/>
                      <a:pt x="102" y="0"/>
                    </a:cubicBezTo>
                    <a:cubicBezTo>
                      <a:pt x="94" y="11"/>
                      <a:pt x="94" y="11"/>
                      <a:pt x="94" y="11"/>
                    </a:cubicBezTo>
                    <a:cubicBezTo>
                      <a:pt x="85" y="12"/>
                      <a:pt x="28" y="19"/>
                      <a:pt x="12" y="12"/>
                    </a:cubicBezTo>
                    <a:cubicBezTo>
                      <a:pt x="10" y="23"/>
                      <a:pt x="11" y="63"/>
                      <a:pt x="14" y="98"/>
                    </a:cubicBezTo>
                    <a:cubicBezTo>
                      <a:pt x="37" y="99"/>
                      <a:pt x="87" y="99"/>
                      <a:pt x="104" y="95"/>
                    </a:cubicBezTo>
                    <a:cubicBezTo>
                      <a:pt x="101" y="25"/>
                      <a:pt x="101" y="25"/>
                      <a:pt x="101" y="25"/>
                    </a:cubicBezTo>
                    <a:cubicBezTo>
                      <a:pt x="111" y="9"/>
                      <a:pt x="111" y="9"/>
                      <a:pt x="111" y="9"/>
                    </a:cubicBezTo>
                    <a:cubicBezTo>
                      <a:pt x="114" y="101"/>
                      <a:pt x="114" y="101"/>
                      <a:pt x="114" y="101"/>
                    </a:cubicBezTo>
                    <a:cubicBezTo>
                      <a:pt x="111" y="102"/>
                      <a:pt x="111" y="102"/>
                      <a:pt x="111" y="102"/>
                    </a:cubicBezTo>
                    <a:cubicBezTo>
                      <a:pt x="100" y="107"/>
                      <a:pt x="69" y="108"/>
                      <a:pt x="45" y="1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e 9">
            <a:extLst>
              <a:ext uri="{FF2B5EF4-FFF2-40B4-BE49-F238E27FC236}">
                <a16:creationId xmlns:a16="http://schemas.microsoft.com/office/drawing/2014/main" xmlns="" id="{D64588FE-3609-40B7-B9AE-8DEB916EDD50}"/>
              </a:ext>
            </a:extLst>
          </p:cNvPr>
          <p:cNvGrpSpPr/>
          <p:nvPr/>
        </p:nvGrpSpPr>
        <p:grpSpPr>
          <a:xfrm>
            <a:off x="708463" y="3441464"/>
            <a:ext cx="10779144" cy="138499"/>
            <a:chOff x="686328" y="3516430"/>
            <a:chExt cx="10779144" cy="138499"/>
          </a:xfrm>
        </p:grpSpPr>
        <p:sp>
          <p:nvSpPr>
            <p:cNvPr id="442" name="Rectangle 230">
              <a:extLst>
                <a:ext uri="{FF2B5EF4-FFF2-40B4-BE49-F238E27FC236}">
                  <a16:creationId xmlns:a16="http://schemas.microsoft.com/office/drawing/2014/main" xmlns="" id="{5A948A77-A852-4DC0-8DD7-D76BC2F904E6}"/>
                </a:ext>
              </a:extLst>
            </p:cNvPr>
            <p:cNvSpPr>
              <a:spLocks noChangeArrowheads="1"/>
            </p:cNvSpPr>
            <p:nvPr/>
          </p:nvSpPr>
          <p:spPr bwMode="auto">
            <a:xfrm>
              <a:off x="1535675" y="3516430"/>
              <a:ext cx="4520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Balance</a:t>
              </a:r>
              <a:endParaRPr kumimoji="0" lang="fr-FR" altLang="fr-FR" sz="1200" b="0" i="0" u="none" strike="noStrike" cap="none" normalizeH="0" baseline="0" dirty="0">
                <a:ln>
                  <a:noFill/>
                </a:ln>
                <a:solidFill>
                  <a:schemeClr val="tx1"/>
                </a:solidFill>
                <a:effectLst/>
                <a:latin typeface="+mj-lt"/>
              </a:endParaRPr>
            </a:p>
          </p:txBody>
        </p:sp>
        <p:sp>
          <p:nvSpPr>
            <p:cNvPr id="443" name="Rectangle 232">
              <a:extLst>
                <a:ext uri="{FF2B5EF4-FFF2-40B4-BE49-F238E27FC236}">
                  <a16:creationId xmlns:a16="http://schemas.microsoft.com/office/drawing/2014/main" xmlns="" id="{2A317501-D2F1-456A-87C6-C15003DC204E}"/>
                </a:ext>
              </a:extLst>
            </p:cNvPr>
            <p:cNvSpPr>
              <a:spLocks noChangeArrowheads="1"/>
            </p:cNvSpPr>
            <p:nvPr/>
          </p:nvSpPr>
          <p:spPr bwMode="auto">
            <a:xfrm>
              <a:off x="2504467" y="3516430"/>
              <a:ext cx="30457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ools</a:t>
              </a:r>
              <a:endParaRPr kumimoji="0" lang="fr-FR" altLang="fr-FR" sz="1200" b="0" i="0" u="none" strike="noStrike" cap="none" normalizeH="0" baseline="0" dirty="0">
                <a:ln>
                  <a:noFill/>
                </a:ln>
                <a:solidFill>
                  <a:schemeClr val="tx1"/>
                </a:solidFill>
                <a:effectLst/>
                <a:latin typeface="+mj-lt"/>
              </a:endParaRPr>
            </a:p>
          </p:txBody>
        </p:sp>
        <p:sp>
          <p:nvSpPr>
            <p:cNvPr id="444" name="Rectangle 235">
              <a:extLst>
                <a:ext uri="{FF2B5EF4-FFF2-40B4-BE49-F238E27FC236}">
                  <a16:creationId xmlns:a16="http://schemas.microsoft.com/office/drawing/2014/main" xmlns="" id="{C38C336C-85D8-44E7-8DF8-A5D267DF8309}"/>
                </a:ext>
              </a:extLst>
            </p:cNvPr>
            <p:cNvSpPr>
              <a:spLocks noChangeArrowheads="1"/>
            </p:cNvSpPr>
            <p:nvPr/>
          </p:nvSpPr>
          <p:spPr bwMode="auto">
            <a:xfrm>
              <a:off x="8115775" y="3516430"/>
              <a:ext cx="33823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Home</a:t>
              </a:r>
              <a:endParaRPr kumimoji="0" lang="fr-FR" altLang="fr-FR" sz="1200" b="0" i="0" u="none" strike="noStrike" cap="none" normalizeH="0" baseline="0">
                <a:ln>
                  <a:noFill/>
                </a:ln>
                <a:solidFill>
                  <a:schemeClr val="tx1"/>
                </a:solidFill>
                <a:effectLst/>
                <a:latin typeface="+mj-lt"/>
              </a:endParaRPr>
            </a:p>
          </p:txBody>
        </p:sp>
        <p:sp>
          <p:nvSpPr>
            <p:cNvPr id="445" name="Rectangle 236">
              <a:extLst>
                <a:ext uri="{FF2B5EF4-FFF2-40B4-BE49-F238E27FC236}">
                  <a16:creationId xmlns:a16="http://schemas.microsoft.com/office/drawing/2014/main" xmlns="" id="{5DC9C640-EEBD-43A1-8E9B-EAF0614D52D9}"/>
                </a:ext>
              </a:extLst>
            </p:cNvPr>
            <p:cNvSpPr>
              <a:spLocks noChangeArrowheads="1"/>
            </p:cNvSpPr>
            <p:nvPr/>
          </p:nvSpPr>
          <p:spPr bwMode="auto">
            <a:xfrm>
              <a:off x="5303370" y="3516430"/>
              <a:ext cx="34785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Vision</a:t>
              </a:r>
              <a:endParaRPr kumimoji="0" lang="fr-FR" altLang="fr-FR" sz="1200" b="0" i="0" u="none" strike="noStrike" cap="none" normalizeH="0" baseline="0" dirty="0">
                <a:ln>
                  <a:noFill/>
                </a:ln>
                <a:solidFill>
                  <a:schemeClr val="tx1"/>
                </a:solidFill>
                <a:effectLst/>
                <a:latin typeface="+mj-lt"/>
              </a:endParaRPr>
            </a:p>
          </p:txBody>
        </p:sp>
        <p:sp>
          <p:nvSpPr>
            <p:cNvPr id="446" name="Rectangle 240">
              <a:extLst>
                <a:ext uri="{FF2B5EF4-FFF2-40B4-BE49-F238E27FC236}">
                  <a16:creationId xmlns:a16="http://schemas.microsoft.com/office/drawing/2014/main" xmlns="" id="{35140E50-63DD-42F3-8D7F-6E257F2BBB5B}"/>
                </a:ext>
              </a:extLst>
            </p:cNvPr>
            <p:cNvSpPr>
              <a:spLocks noChangeArrowheads="1"/>
            </p:cNvSpPr>
            <p:nvPr/>
          </p:nvSpPr>
          <p:spPr bwMode="auto">
            <a:xfrm>
              <a:off x="686328" y="3516430"/>
              <a:ext cx="24205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Star</a:t>
              </a:r>
              <a:endParaRPr kumimoji="0" lang="fr-FR" altLang="fr-FR" sz="1200" b="0" i="0" u="none" strike="noStrike" cap="none" normalizeH="0" baseline="0">
                <a:ln>
                  <a:noFill/>
                </a:ln>
                <a:solidFill>
                  <a:schemeClr val="tx1"/>
                </a:solidFill>
                <a:effectLst/>
                <a:latin typeface="+mj-lt"/>
              </a:endParaRPr>
            </a:p>
          </p:txBody>
        </p:sp>
        <p:sp>
          <p:nvSpPr>
            <p:cNvPr id="447" name="Rectangle 105">
              <a:extLst>
                <a:ext uri="{FF2B5EF4-FFF2-40B4-BE49-F238E27FC236}">
                  <a16:creationId xmlns:a16="http://schemas.microsoft.com/office/drawing/2014/main" xmlns="" id="{171FC9CA-AC29-40E0-8217-2F505E763FF2}"/>
                </a:ext>
              </a:extLst>
            </p:cNvPr>
            <p:cNvSpPr>
              <a:spLocks noChangeArrowheads="1"/>
            </p:cNvSpPr>
            <p:nvPr/>
          </p:nvSpPr>
          <p:spPr bwMode="auto">
            <a:xfrm>
              <a:off x="8936535" y="3516430"/>
              <a:ext cx="57708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Questions</a:t>
              </a:r>
              <a:endParaRPr kumimoji="0" lang="fr-FR" altLang="fr-FR" sz="1200" b="0" i="0" u="none" strike="noStrike" cap="none" normalizeH="0" baseline="0">
                <a:ln>
                  <a:noFill/>
                </a:ln>
                <a:solidFill>
                  <a:schemeClr val="tx1"/>
                </a:solidFill>
                <a:effectLst/>
                <a:latin typeface="+mj-lt"/>
              </a:endParaRPr>
            </a:p>
          </p:txBody>
        </p:sp>
        <p:sp>
          <p:nvSpPr>
            <p:cNvPr id="453" name="Rectangle 110">
              <a:extLst>
                <a:ext uri="{FF2B5EF4-FFF2-40B4-BE49-F238E27FC236}">
                  <a16:creationId xmlns:a16="http://schemas.microsoft.com/office/drawing/2014/main" xmlns="" id="{79C18ABF-8630-4221-8A5E-B3C459E20222}"/>
                </a:ext>
              </a:extLst>
            </p:cNvPr>
            <p:cNvSpPr>
              <a:spLocks noChangeArrowheads="1"/>
            </p:cNvSpPr>
            <p:nvPr/>
          </p:nvSpPr>
          <p:spPr bwMode="auto">
            <a:xfrm>
              <a:off x="9830311" y="3516430"/>
              <a:ext cx="70692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Exclamation</a:t>
              </a:r>
              <a:endParaRPr kumimoji="0" lang="fr-FR" altLang="fr-FR" sz="1200" b="0" i="0" u="none" strike="noStrike" cap="none" normalizeH="0" baseline="0" dirty="0">
                <a:ln>
                  <a:noFill/>
                </a:ln>
                <a:solidFill>
                  <a:schemeClr val="tx1"/>
                </a:solidFill>
                <a:effectLst/>
                <a:latin typeface="+mj-lt"/>
              </a:endParaRPr>
            </a:p>
          </p:txBody>
        </p:sp>
        <p:sp>
          <p:nvSpPr>
            <p:cNvPr id="579" name="Rectangle 32">
              <a:extLst>
                <a:ext uri="{FF2B5EF4-FFF2-40B4-BE49-F238E27FC236}">
                  <a16:creationId xmlns:a16="http://schemas.microsoft.com/office/drawing/2014/main" xmlns="" id="{332A574B-5F7F-4978-8A95-37257FF4121F}"/>
                </a:ext>
              </a:extLst>
            </p:cNvPr>
            <p:cNvSpPr>
              <a:spLocks noChangeArrowheads="1"/>
            </p:cNvSpPr>
            <p:nvPr/>
          </p:nvSpPr>
          <p:spPr bwMode="auto">
            <a:xfrm>
              <a:off x="3496725" y="3516430"/>
              <a:ext cx="21800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Key</a:t>
              </a:r>
              <a:endParaRPr kumimoji="0" lang="fr-FR" altLang="fr-FR" sz="1200" b="0" i="0" u="none" strike="noStrike" cap="none" normalizeH="0" baseline="0" dirty="0">
                <a:ln>
                  <a:noFill/>
                </a:ln>
                <a:solidFill>
                  <a:schemeClr val="tx1"/>
                </a:solidFill>
                <a:effectLst/>
                <a:latin typeface="+mj-lt"/>
              </a:endParaRPr>
            </a:p>
          </p:txBody>
        </p:sp>
        <p:sp>
          <p:nvSpPr>
            <p:cNvPr id="743" name="Rectangle 110">
              <a:extLst>
                <a:ext uri="{FF2B5EF4-FFF2-40B4-BE49-F238E27FC236}">
                  <a16:creationId xmlns:a16="http://schemas.microsoft.com/office/drawing/2014/main" xmlns="" id="{ADD327F6-0AA3-45CB-9CBD-F4D7347ADAA9}"/>
                </a:ext>
              </a:extLst>
            </p:cNvPr>
            <p:cNvSpPr>
              <a:spLocks noChangeArrowheads="1"/>
            </p:cNvSpPr>
            <p:nvPr/>
          </p:nvSpPr>
          <p:spPr bwMode="auto">
            <a:xfrm>
              <a:off x="10789005" y="3516430"/>
              <a:ext cx="67646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Satisfaction</a:t>
              </a:r>
              <a:endParaRPr kumimoji="0" lang="fr-FR" altLang="fr-FR" sz="1200" b="0" i="0" u="none" strike="noStrike" cap="none" normalizeH="0" baseline="0" dirty="0">
                <a:ln>
                  <a:noFill/>
                </a:ln>
                <a:solidFill>
                  <a:schemeClr val="tx1"/>
                </a:solidFill>
                <a:effectLst/>
                <a:latin typeface="+mj-lt"/>
              </a:endParaRPr>
            </a:p>
          </p:txBody>
        </p:sp>
      </p:grpSp>
      <p:grpSp>
        <p:nvGrpSpPr>
          <p:cNvPr id="745" name="Groupe 744">
            <a:extLst>
              <a:ext uri="{FF2B5EF4-FFF2-40B4-BE49-F238E27FC236}">
                <a16:creationId xmlns:a16="http://schemas.microsoft.com/office/drawing/2014/main" xmlns="" id="{99ECB1B7-970C-497B-8DB0-9D416D2CF69A}"/>
              </a:ext>
            </a:extLst>
          </p:cNvPr>
          <p:cNvGrpSpPr>
            <a:grpSpLocks noChangeAspect="1"/>
          </p:cNvGrpSpPr>
          <p:nvPr/>
        </p:nvGrpSpPr>
        <p:grpSpPr>
          <a:xfrm>
            <a:off x="10721156" y="1274501"/>
            <a:ext cx="769901" cy="720000"/>
            <a:chOff x="3198813" y="241300"/>
            <a:chExt cx="1028700" cy="962025"/>
          </a:xfrm>
        </p:grpSpPr>
        <p:sp>
          <p:nvSpPr>
            <p:cNvPr id="746" name="Freeform 324">
              <a:extLst>
                <a:ext uri="{FF2B5EF4-FFF2-40B4-BE49-F238E27FC236}">
                  <a16:creationId xmlns:a16="http://schemas.microsoft.com/office/drawing/2014/main" xmlns="" id="{004897B4-4B9B-4F93-80F3-DD4C9C1CCBBC}"/>
                </a:ext>
              </a:extLst>
            </p:cNvPr>
            <p:cNvSpPr>
              <a:spLocks/>
            </p:cNvSpPr>
            <p:nvPr/>
          </p:nvSpPr>
          <p:spPr bwMode="auto">
            <a:xfrm>
              <a:off x="3198813" y="241300"/>
              <a:ext cx="1028700" cy="962025"/>
            </a:xfrm>
            <a:custGeom>
              <a:avLst/>
              <a:gdLst>
                <a:gd name="T0" fmla="*/ 40 w 274"/>
                <a:gd name="T1" fmla="*/ 201 h 256"/>
                <a:gd name="T2" fmla="*/ 66 w 274"/>
                <a:gd name="T3" fmla="*/ 38 h 256"/>
                <a:gd name="T4" fmla="*/ 235 w 274"/>
                <a:gd name="T5" fmla="*/ 62 h 256"/>
                <a:gd name="T6" fmla="*/ 204 w 274"/>
                <a:gd name="T7" fmla="*/ 218 h 256"/>
                <a:gd name="T8" fmla="*/ 40 w 274"/>
                <a:gd name="T9" fmla="*/ 201 h 256"/>
              </a:gdLst>
              <a:ahLst/>
              <a:cxnLst>
                <a:cxn ang="0">
                  <a:pos x="T0" y="T1"/>
                </a:cxn>
                <a:cxn ang="0">
                  <a:pos x="T2" y="T3"/>
                </a:cxn>
                <a:cxn ang="0">
                  <a:pos x="T4" y="T5"/>
                </a:cxn>
                <a:cxn ang="0">
                  <a:pos x="T6" y="T7"/>
                </a:cxn>
                <a:cxn ang="0">
                  <a:pos x="T8" y="T9"/>
                </a:cxn>
              </a:cxnLst>
              <a:rect l="0" t="0" r="r" b="b"/>
              <a:pathLst>
                <a:path w="274" h="256">
                  <a:moveTo>
                    <a:pt x="40" y="201"/>
                  </a:moveTo>
                  <a:cubicBezTo>
                    <a:pt x="0" y="149"/>
                    <a:pt x="12" y="77"/>
                    <a:pt x="66" y="38"/>
                  </a:cubicBezTo>
                  <a:cubicBezTo>
                    <a:pt x="120" y="0"/>
                    <a:pt x="195" y="10"/>
                    <a:pt x="235" y="62"/>
                  </a:cubicBezTo>
                  <a:cubicBezTo>
                    <a:pt x="274" y="114"/>
                    <a:pt x="258" y="180"/>
                    <a:pt x="204" y="218"/>
                  </a:cubicBezTo>
                  <a:cubicBezTo>
                    <a:pt x="150" y="256"/>
                    <a:pt x="79" y="252"/>
                    <a:pt x="40" y="201"/>
                  </a:cubicBezTo>
                </a:path>
              </a:pathLst>
            </a:custGeom>
            <a:solidFill>
              <a:srgbClr val="3A22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47" name="Groupe 746">
              <a:extLst>
                <a:ext uri="{FF2B5EF4-FFF2-40B4-BE49-F238E27FC236}">
                  <a16:creationId xmlns:a16="http://schemas.microsoft.com/office/drawing/2014/main" xmlns="" id="{CBE5B266-FDF2-412E-AB37-5696EF4C7D4F}"/>
                </a:ext>
              </a:extLst>
            </p:cNvPr>
            <p:cNvGrpSpPr/>
            <p:nvPr/>
          </p:nvGrpSpPr>
          <p:grpSpPr>
            <a:xfrm>
              <a:off x="3484563" y="500062"/>
              <a:ext cx="454025" cy="455613"/>
              <a:chOff x="3484563" y="500062"/>
              <a:chExt cx="454025" cy="455613"/>
            </a:xfrm>
          </p:grpSpPr>
          <p:sp>
            <p:nvSpPr>
              <p:cNvPr id="748" name="Freeform 325">
                <a:extLst>
                  <a:ext uri="{FF2B5EF4-FFF2-40B4-BE49-F238E27FC236}">
                    <a16:creationId xmlns:a16="http://schemas.microsoft.com/office/drawing/2014/main" xmlns="" id="{DD292F16-89EB-4E45-9203-19A5D9ECB2D6}"/>
                  </a:ext>
                </a:extLst>
              </p:cNvPr>
              <p:cNvSpPr>
                <a:spLocks/>
              </p:cNvSpPr>
              <p:nvPr/>
            </p:nvSpPr>
            <p:spPr bwMode="auto">
              <a:xfrm>
                <a:off x="3592513" y="500062"/>
                <a:ext cx="225425" cy="309563"/>
              </a:xfrm>
              <a:custGeom>
                <a:avLst/>
                <a:gdLst>
                  <a:gd name="T0" fmla="*/ 30 w 60"/>
                  <a:gd name="T1" fmla="*/ 82 h 82"/>
                  <a:gd name="T2" fmla="*/ 60 w 60"/>
                  <a:gd name="T3" fmla="*/ 47 h 82"/>
                  <a:gd name="T4" fmla="*/ 42 w 60"/>
                  <a:gd name="T5" fmla="*/ 47 h 82"/>
                  <a:gd name="T6" fmla="*/ 49 w 60"/>
                  <a:gd name="T7" fmla="*/ 0 h 82"/>
                  <a:gd name="T8" fmla="*/ 7 w 60"/>
                  <a:gd name="T9" fmla="*/ 0 h 82"/>
                  <a:gd name="T10" fmla="*/ 19 w 60"/>
                  <a:gd name="T11" fmla="*/ 46 h 82"/>
                  <a:gd name="T12" fmla="*/ 0 w 60"/>
                  <a:gd name="T13" fmla="*/ 46 h 82"/>
                  <a:gd name="T14" fmla="*/ 30 w 60"/>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2">
                    <a:moveTo>
                      <a:pt x="30" y="82"/>
                    </a:moveTo>
                    <a:cubicBezTo>
                      <a:pt x="56" y="52"/>
                      <a:pt x="60" y="47"/>
                      <a:pt x="60" y="47"/>
                    </a:cubicBezTo>
                    <a:cubicBezTo>
                      <a:pt x="42" y="47"/>
                      <a:pt x="42" y="47"/>
                      <a:pt x="42" y="47"/>
                    </a:cubicBezTo>
                    <a:cubicBezTo>
                      <a:pt x="46" y="11"/>
                      <a:pt x="49" y="0"/>
                      <a:pt x="49" y="0"/>
                    </a:cubicBezTo>
                    <a:cubicBezTo>
                      <a:pt x="23" y="13"/>
                      <a:pt x="7" y="0"/>
                      <a:pt x="7" y="0"/>
                    </a:cubicBezTo>
                    <a:cubicBezTo>
                      <a:pt x="16" y="30"/>
                      <a:pt x="19" y="46"/>
                      <a:pt x="19" y="46"/>
                    </a:cubicBezTo>
                    <a:cubicBezTo>
                      <a:pt x="0" y="46"/>
                      <a:pt x="0" y="46"/>
                      <a:pt x="0" y="46"/>
                    </a:cubicBezTo>
                    <a:lnTo>
                      <a:pt x="30" y="82"/>
                    </a:lnTo>
                    <a:close/>
                  </a:path>
                </a:pathLst>
              </a:custGeom>
              <a:solidFill>
                <a:srgbClr val="A5C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326">
                <a:extLst>
                  <a:ext uri="{FF2B5EF4-FFF2-40B4-BE49-F238E27FC236}">
                    <a16:creationId xmlns:a16="http://schemas.microsoft.com/office/drawing/2014/main" xmlns="" id="{F16291A3-2926-4216-82C4-B059F0D9FAD9}"/>
                  </a:ext>
                </a:extLst>
              </p:cNvPr>
              <p:cNvSpPr>
                <a:spLocks/>
              </p:cNvSpPr>
              <p:nvPr/>
            </p:nvSpPr>
            <p:spPr bwMode="auto">
              <a:xfrm>
                <a:off x="3484563" y="801687"/>
                <a:ext cx="454025" cy="153988"/>
              </a:xfrm>
              <a:custGeom>
                <a:avLst/>
                <a:gdLst>
                  <a:gd name="T0" fmla="*/ 115 w 121"/>
                  <a:gd name="T1" fmla="*/ 0 h 41"/>
                  <a:gd name="T2" fmla="*/ 100 w 121"/>
                  <a:gd name="T3" fmla="*/ 0 h 41"/>
                  <a:gd name="T4" fmla="*/ 100 w 121"/>
                  <a:gd name="T5" fmla="*/ 23 h 41"/>
                  <a:gd name="T6" fmla="*/ 20 w 121"/>
                  <a:gd name="T7" fmla="*/ 23 h 41"/>
                  <a:gd name="T8" fmla="*/ 20 w 121"/>
                  <a:gd name="T9" fmla="*/ 0 h 41"/>
                  <a:gd name="T10" fmla="*/ 6 w 121"/>
                  <a:gd name="T11" fmla="*/ 0 h 41"/>
                  <a:gd name="T12" fmla="*/ 0 w 121"/>
                  <a:gd name="T13" fmla="*/ 0 h 41"/>
                  <a:gd name="T14" fmla="*/ 0 w 121"/>
                  <a:gd name="T15" fmla="*/ 35 h 41"/>
                  <a:gd name="T16" fmla="*/ 6 w 121"/>
                  <a:gd name="T17" fmla="*/ 41 h 41"/>
                  <a:gd name="T18" fmla="*/ 115 w 121"/>
                  <a:gd name="T19" fmla="*/ 41 h 41"/>
                  <a:gd name="T20" fmla="*/ 121 w 121"/>
                  <a:gd name="T21" fmla="*/ 35 h 41"/>
                  <a:gd name="T22" fmla="*/ 121 w 121"/>
                  <a:gd name="T23" fmla="*/ 6 h 41"/>
                  <a:gd name="T24" fmla="*/ 115 w 121"/>
                  <a:gd name="T2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41">
                    <a:moveTo>
                      <a:pt x="115" y="0"/>
                    </a:moveTo>
                    <a:cubicBezTo>
                      <a:pt x="100" y="0"/>
                      <a:pt x="100" y="0"/>
                      <a:pt x="100" y="0"/>
                    </a:cubicBezTo>
                    <a:cubicBezTo>
                      <a:pt x="100" y="23"/>
                      <a:pt x="100" y="23"/>
                      <a:pt x="100" y="23"/>
                    </a:cubicBezTo>
                    <a:cubicBezTo>
                      <a:pt x="20" y="23"/>
                      <a:pt x="20" y="23"/>
                      <a:pt x="20" y="23"/>
                    </a:cubicBezTo>
                    <a:cubicBezTo>
                      <a:pt x="20" y="0"/>
                      <a:pt x="20" y="0"/>
                      <a:pt x="20" y="0"/>
                    </a:cubicBezTo>
                    <a:cubicBezTo>
                      <a:pt x="6" y="0"/>
                      <a:pt x="6" y="0"/>
                      <a:pt x="6" y="0"/>
                    </a:cubicBezTo>
                    <a:cubicBezTo>
                      <a:pt x="0" y="0"/>
                      <a:pt x="0" y="0"/>
                      <a:pt x="0" y="0"/>
                    </a:cubicBezTo>
                    <a:cubicBezTo>
                      <a:pt x="0" y="35"/>
                      <a:pt x="0" y="35"/>
                      <a:pt x="0" y="35"/>
                    </a:cubicBezTo>
                    <a:cubicBezTo>
                      <a:pt x="0" y="38"/>
                      <a:pt x="2" y="41"/>
                      <a:pt x="6" y="41"/>
                    </a:cubicBezTo>
                    <a:cubicBezTo>
                      <a:pt x="115" y="41"/>
                      <a:pt x="115" y="41"/>
                      <a:pt x="115" y="41"/>
                    </a:cubicBezTo>
                    <a:cubicBezTo>
                      <a:pt x="118" y="41"/>
                      <a:pt x="121" y="38"/>
                      <a:pt x="121" y="35"/>
                    </a:cubicBezTo>
                    <a:cubicBezTo>
                      <a:pt x="121" y="6"/>
                      <a:pt x="121" y="6"/>
                      <a:pt x="121" y="6"/>
                    </a:cubicBezTo>
                    <a:cubicBezTo>
                      <a:pt x="121" y="3"/>
                      <a:pt x="118" y="0"/>
                      <a:pt x="115" y="0"/>
                    </a:cubicBezTo>
                    <a:close/>
                  </a:path>
                </a:pathLst>
              </a:custGeom>
              <a:solidFill>
                <a:srgbClr val="0584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3" name="Groupe 752">
            <a:extLst>
              <a:ext uri="{FF2B5EF4-FFF2-40B4-BE49-F238E27FC236}">
                <a16:creationId xmlns:a16="http://schemas.microsoft.com/office/drawing/2014/main" xmlns="" id="{1338A61A-F50D-47C4-ACC7-5933AE7DCC53}"/>
              </a:ext>
            </a:extLst>
          </p:cNvPr>
          <p:cNvGrpSpPr>
            <a:grpSpLocks noChangeAspect="1"/>
          </p:cNvGrpSpPr>
          <p:nvPr/>
        </p:nvGrpSpPr>
        <p:grpSpPr>
          <a:xfrm>
            <a:off x="6980989" y="2633936"/>
            <a:ext cx="771515" cy="720000"/>
            <a:chOff x="5395913" y="3311525"/>
            <a:chExt cx="998537" cy="931863"/>
          </a:xfrm>
        </p:grpSpPr>
        <p:sp>
          <p:nvSpPr>
            <p:cNvPr id="754" name="Freeform 282">
              <a:extLst>
                <a:ext uri="{FF2B5EF4-FFF2-40B4-BE49-F238E27FC236}">
                  <a16:creationId xmlns:a16="http://schemas.microsoft.com/office/drawing/2014/main" xmlns="" id="{7475A25D-4479-49BD-8D61-D5726500F20E}"/>
                </a:ext>
              </a:extLst>
            </p:cNvPr>
            <p:cNvSpPr>
              <a:spLocks/>
            </p:cNvSpPr>
            <p:nvPr/>
          </p:nvSpPr>
          <p:spPr bwMode="auto">
            <a:xfrm>
              <a:off x="5395913" y="3311525"/>
              <a:ext cx="998537" cy="931863"/>
            </a:xfrm>
            <a:custGeom>
              <a:avLst/>
              <a:gdLst>
                <a:gd name="T0" fmla="*/ 38 w 266"/>
                <a:gd name="T1" fmla="*/ 194 h 248"/>
                <a:gd name="T2" fmla="*/ 64 w 266"/>
                <a:gd name="T3" fmla="*/ 37 h 248"/>
                <a:gd name="T4" fmla="*/ 227 w 266"/>
                <a:gd name="T5" fmla="*/ 60 h 248"/>
                <a:gd name="T6" fmla="*/ 198 w 266"/>
                <a:gd name="T7" fmla="*/ 211 h 248"/>
                <a:gd name="T8" fmla="*/ 38 w 266"/>
                <a:gd name="T9" fmla="*/ 194 h 248"/>
              </a:gdLst>
              <a:ahLst/>
              <a:cxnLst>
                <a:cxn ang="0">
                  <a:pos x="T0" y="T1"/>
                </a:cxn>
                <a:cxn ang="0">
                  <a:pos x="T2" y="T3"/>
                </a:cxn>
                <a:cxn ang="0">
                  <a:pos x="T4" y="T5"/>
                </a:cxn>
                <a:cxn ang="0">
                  <a:pos x="T6" y="T7"/>
                </a:cxn>
                <a:cxn ang="0">
                  <a:pos x="T8" y="T9"/>
                </a:cxn>
              </a:cxnLst>
              <a:rect l="0" t="0" r="r" b="b"/>
              <a:pathLst>
                <a:path w="266" h="248">
                  <a:moveTo>
                    <a:pt x="38" y="194"/>
                  </a:moveTo>
                  <a:cubicBezTo>
                    <a:pt x="0" y="144"/>
                    <a:pt x="11" y="74"/>
                    <a:pt x="64" y="37"/>
                  </a:cubicBezTo>
                  <a:cubicBezTo>
                    <a:pt x="116" y="0"/>
                    <a:pt x="189" y="10"/>
                    <a:pt x="227" y="60"/>
                  </a:cubicBezTo>
                  <a:cubicBezTo>
                    <a:pt x="266" y="110"/>
                    <a:pt x="250" y="174"/>
                    <a:pt x="198" y="211"/>
                  </a:cubicBezTo>
                  <a:cubicBezTo>
                    <a:pt x="145" y="248"/>
                    <a:pt x="76" y="244"/>
                    <a:pt x="38" y="194"/>
                  </a:cubicBezTo>
                </a:path>
              </a:pathLst>
            </a:custGeom>
            <a:solidFill>
              <a:srgbClr val="2B19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55" name="Groupe 754">
              <a:extLst>
                <a:ext uri="{FF2B5EF4-FFF2-40B4-BE49-F238E27FC236}">
                  <a16:creationId xmlns:a16="http://schemas.microsoft.com/office/drawing/2014/main" xmlns="" id="{3E0DCDBA-3755-447F-BF9F-362170F0A3C1}"/>
                </a:ext>
              </a:extLst>
            </p:cNvPr>
            <p:cNvGrpSpPr/>
            <p:nvPr/>
          </p:nvGrpSpPr>
          <p:grpSpPr>
            <a:xfrm>
              <a:off x="5534025" y="3363912"/>
              <a:ext cx="712787" cy="639763"/>
              <a:chOff x="5534025" y="3363912"/>
              <a:chExt cx="712787" cy="639763"/>
            </a:xfrm>
          </p:grpSpPr>
          <p:sp>
            <p:nvSpPr>
              <p:cNvPr id="756" name="Freeform 283">
                <a:extLst>
                  <a:ext uri="{FF2B5EF4-FFF2-40B4-BE49-F238E27FC236}">
                    <a16:creationId xmlns:a16="http://schemas.microsoft.com/office/drawing/2014/main" xmlns="" id="{3D998B6B-F986-4F14-B403-55F1ED117905}"/>
                  </a:ext>
                </a:extLst>
              </p:cNvPr>
              <p:cNvSpPr>
                <a:spLocks noEditPoints="1"/>
              </p:cNvSpPr>
              <p:nvPr/>
            </p:nvSpPr>
            <p:spPr bwMode="auto">
              <a:xfrm>
                <a:off x="5534025" y="3363912"/>
                <a:ext cx="712787" cy="639763"/>
              </a:xfrm>
              <a:custGeom>
                <a:avLst/>
                <a:gdLst>
                  <a:gd name="T0" fmla="*/ 0 w 190"/>
                  <a:gd name="T1" fmla="*/ 104 h 170"/>
                  <a:gd name="T2" fmla="*/ 180 w 190"/>
                  <a:gd name="T3" fmla="*/ 117 h 170"/>
                  <a:gd name="T4" fmla="*/ 123 w 190"/>
                  <a:gd name="T5" fmla="*/ 152 h 170"/>
                  <a:gd name="T6" fmla="*/ 169 w 190"/>
                  <a:gd name="T7" fmla="*/ 120 h 170"/>
                  <a:gd name="T8" fmla="*/ 92 w 190"/>
                  <a:gd name="T9" fmla="*/ 68 h 170"/>
                  <a:gd name="T10" fmla="*/ 0 w 190"/>
                  <a:gd name="T11" fmla="*/ 117 h 170"/>
                  <a:gd name="T12" fmla="*/ 77 w 190"/>
                  <a:gd name="T13" fmla="*/ 167 h 170"/>
                  <a:gd name="T14" fmla="*/ 10 w 190"/>
                  <a:gd name="T15" fmla="*/ 117 h 170"/>
                  <a:gd name="T16" fmla="*/ 67 w 190"/>
                  <a:gd name="T17" fmla="*/ 81 h 170"/>
                  <a:gd name="T18" fmla="*/ 21 w 190"/>
                  <a:gd name="T19" fmla="*/ 114 h 170"/>
                  <a:gd name="T20" fmla="*/ 98 w 190"/>
                  <a:gd name="T21" fmla="*/ 166 h 170"/>
                  <a:gd name="T22" fmla="*/ 190 w 190"/>
                  <a:gd name="T23" fmla="*/ 117 h 170"/>
                  <a:gd name="T24" fmla="*/ 0 w 190"/>
                  <a:gd name="T25" fmla="*/ 104 h 170"/>
                  <a:gd name="T26" fmla="*/ 64 w 190"/>
                  <a:gd name="T27" fmla="*/ 138 h 170"/>
                  <a:gd name="T28" fmla="*/ 73 w 190"/>
                  <a:gd name="T29" fmla="*/ 85 h 170"/>
                  <a:gd name="T30" fmla="*/ 128 w 190"/>
                  <a:gd name="T31" fmla="*/ 93 h 170"/>
                  <a:gd name="T32" fmla="*/ 118 w 190"/>
                  <a:gd name="T33" fmla="*/ 144 h 170"/>
                  <a:gd name="T34" fmla="*/ 64 w 190"/>
                  <a:gd name="T35"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70">
                    <a:moveTo>
                      <a:pt x="0" y="104"/>
                    </a:moveTo>
                    <a:cubicBezTo>
                      <a:pt x="89" y="14"/>
                      <a:pt x="167" y="92"/>
                      <a:pt x="180" y="117"/>
                    </a:cubicBezTo>
                    <a:cubicBezTo>
                      <a:pt x="166" y="135"/>
                      <a:pt x="146" y="148"/>
                      <a:pt x="123" y="152"/>
                    </a:cubicBezTo>
                    <a:cubicBezTo>
                      <a:pt x="141" y="146"/>
                      <a:pt x="157" y="135"/>
                      <a:pt x="169" y="120"/>
                    </a:cubicBezTo>
                    <a:cubicBezTo>
                      <a:pt x="155" y="91"/>
                      <a:pt x="126" y="71"/>
                      <a:pt x="92" y="68"/>
                    </a:cubicBezTo>
                    <a:cubicBezTo>
                      <a:pt x="55" y="64"/>
                      <a:pt x="20" y="86"/>
                      <a:pt x="0" y="117"/>
                    </a:cubicBezTo>
                    <a:cubicBezTo>
                      <a:pt x="17" y="143"/>
                      <a:pt x="44" y="162"/>
                      <a:pt x="77" y="167"/>
                    </a:cubicBezTo>
                    <a:cubicBezTo>
                      <a:pt x="47" y="161"/>
                      <a:pt x="23" y="142"/>
                      <a:pt x="10" y="117"/>
                    </a:cubicBezTo>
                    <a:cubicBezTo>
                      <a:pt x="24" y="99"/>
                      <a:pt x="45" y="86"/>
                      <a:pt x="67" y="81"/>
                    </a:cubicBezTo>
                    <a:cubicBezTo>
                      <a:pt x="49" y="87"/>
                      <a:pt x="33" y="99"/>
                      <a:pt x="21" y="114"/>
                    </a:cubicBezTo>
                    <a:cubicBezTo>
                      <a:pt x="36" y="142"/>
                      <a:pt x="64" y="163"/>
                      <a:pt x="98" y="166"/>
                    </a:cubicBezTo>
                    <a:cubicBezTo>
                      <a:pt x="136" y="170"/>
                      <a:pt x="171" y="147"/>
                      <a:pt x="190" y="117"/>
                    </a:cubicBezTo>
                    <a:cubicBezTo>
                      <a:pt x="173" y="91"/>
                      <a:pt x="91" y="0"/>
                      <a:pt x="0" y="104"/>
                    </a:cubicBezTo>
                    <a:close/>
                    <a:moveTo>
                      <a:pt x="64" y="138"/>
                    </a:moveTo>
                    <a:cubicBezTo>
                      <a:pt x="51" y="121"/>
                      <a:pt x="55" y="98"/>
                      <a:pt x="73" y="85"/>
                    </a:cubicBezTo>
                    <a:cubicBezTo>
                      <a:pt x="90" y="73"/>
                      <a:pt x="115" y="76"/>
                      <a:pt x="128" y="93"/>
                    </a:cubicBezTo>
                    <a:cubicBezTo>
                      <a:pt x="140" y="110"/>
                      <a:pt x="135" y="131"/>
                      <a:pt x="118" y="144"/>
                    </a:cubicBezTo>
                    <a:cubicBezTo>
                      <a:pt x="100" y="156"/>
                      <a:pt x="77" y="155"/>
                      <a:pt x="64" y="138"/>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284">
                <a:extLst>
                  <a:ext uri="{FF2B5EF4-FFF2-40B4-BE49-F238E27FC236}">
                    <a16:creationId xmlns:a16="http://schemas.microsoft.com/office/drawing/2014/main" xmlns="" id="{BBCAA1BB-8921-47F0-BC69-4BCAF5EB2FC2}"/>
                  </a:ext>
                </a:extLst>
              </p:cNvPr>
              <p:cNvSpPr>
                <a:spLocks/>
              </p:cNvSpPr>
              <p:nvPr/>
            </p:nvSpPr>
            <p:spPr bwMode="auto">
              <a:xfrm>
                <a:off x="5756275" y="3668712"/>
                <a:ext cx="277812" cy="255588"/>
              </a:xfrm>
              <a:custGeom>
                <a:avLst/>
                <a:gdLst>
                  <a:gd name="T0" fmla="*/ 63 w 74"/>
                  <a:gd name="T1" fmla="*/ 16 h 68"/>
                  <a:gd name="T2" fmla="*/ 24 w 74"/>
                  <a:gd name="T3" fmla="*/ 5 h 68"/>
                  <a:gd name="T4" fmla="*/ 26 w 74"/>
                  <a:gd name="T5" fmla="*/ 18 h 68"/>
                  <a:gd name="T6" fmla="*/ 16 w 74"/>
                  <a:gd name="T7" fmla="*/ 10 h 68"/>
                  <a:gd name="T8" fmla="*/ 10 w 74"/>
                  <a:gd name="T9" fmla="*/ 53 h 68"/>
                  <a:gd name="T10" fmla="*/ 55 w 74"/>
                  <a:gd name="T11" fmla="*/ 58 h 68"/>
                  <a:gd name="T12" fmla="*/ 63 w 74"/>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74" h="68">
                    <a:moveTo>
                      <a:pt x="63" y="16"/>
                    </a:moveTo>
                    <a:cubicBezTo>
                      <a:pt x="54" y="4"/>
                      <a:pt x="38" y="0"/>
                      <a:pt x="24" y="5"/>
                    </a:cubicBezTo>
                    <a:cubicBezTo>
                      <a:pt x="26" y="18"/>
                      <a:pt x="26" y="18"/>
                      <a:pt x="26" y="18"/>
                    </a:cubicBezTo>
                    <a:cubicBezTo>
                      <a:pt x="16" y="10"/>
                      <a:pt x="16" y="10"/>
                      <a:pt x="16" y="10"/>
                    </a:cubicBezTo>
                    <a:cubicBezTo>
                      <a:pt x="3" y="21"/>
                      <a:pt x="0" y="39"/>
                      <a:pt x="10" y="53"/>
                    </a:cubicBezTo>
                    <a:cubicBezTo>
                      <a:pt x="21" y="67"/>
                      <a:pt x="40" y="68"/>
                      <a:pt x="55" y="58"/>
                    </a:cubicBezTo>
                    <a:cubicBezTo>
                      <a:pt x="70" y="47"/>
                      <a:pt x="74" y="29"/>
                      <a:pt x="63" y="16"/>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85">
                <a:extLst>
                  <a:ext uri="{FF2B5EF4-FFF2-40B4-BE49-F238E27FC236}">
                    <a16:creationId xmlns:a16="http://schemas.microsoft.com/office/drawing/2014/main" xmlns="" id="{FCD7C912-B3AC-4EC7-913D-3429A59A6BBF}"/>
                  </a:ext>
                </a:extLst>
              </p:cNvPr>
              <p:cNvSpPr>
                <a:spLocks/>
              </p:cNvSpPr>
              <p:nvPr/>
            </p:nvSpPr>
            <p:spPr bwMode="auto">
              <a:xfrm>
                <a:off x="5853113" y="3679825"/>
                <a:ext cx="60325" cy="57150"/>
              </a:xfrm>
              <a:custGeom>
                <a:avLst/>
                <a:gdLst>
                  <a:gd name="T0" fmla="*/ 3 w 16"/>
                  <a:gd name="T1" fmla="*/ 12 h 15"/>
                  <a:gd name="T2" fmla="*/ 4 w 16"/>
                  <a:gd name="T3" fmla="*/ 2 h 15"/>
                  <a:gd name="T4" fmla="*/ 14 w 16"/>
                  <a:gd name="T5" fmla="*/ 4 h 15"/>
                  <a:gd name="T6" fmla="*/ 12 w 16"/>
                  <a:gd name="T7" fmla="*/ 13 h 15"/>
                  <a:gd name="T8" fmla="*/ 3 w 16"/>
                  <a:gd name="T9" fmla="*/ 12 h 15"/>
                </a:gdLst>
                <a:ahLst/>
                <a:cxnLst>
                  <a:cxn ang="0">
                    <a:pos x="T0" y="T1"/>
                  </a:cxn>
                  <a:cxn ang="0">
                    <a:pos x="T2" y="T3"/>
                  </a:cxn>
                  <a:cxn ang="0">
                    <a:pos x="T4" y="T5"/>
                  </a:cxn>
                  <a:cxn ang="0">
                    <a:pos x="T6" y="T7"/>
                  </a:cxn>
                  <a:cxn ang="0">
                    <a:pos x="T8" y="T9"/>
                  </a:cxn>
                </a:cxnLst>
                <a:rect l="0" t="0" r="r" b="b"/>
                <a:pathLst>
                  <a:path w="16" h="15">
                    <a:moveTo>
                      <a:pt x="3" y="12"/>
                    </a:moveTo>
                    <a:cubicBezTo>
                      <a:pt x="0" y="9"/>
                      <a:pt x="1" y="4"/>
                      <a:pt x="4" y="2"/>
                    </a:cubicBezTo>
                    <a:cubicBezTo>
                      <a:pt x="7" y="0"/>
                      <a:pt x="12" y="1"/>
                      <a:pt x="14" y="4"/>
                    </a:cubicBezTo>
                    <a:cubicBezTo>
                      <a:pt x="16" y="7"/>
                      <a:pt x="15" y="10"/>
                      <a:pt x="12" y="13"/>
                    </a:cubicBezTo>
                    <a:cubicBezTo>
                      <a:pt x="9" y="15"/>
                      <a:pt x="5" y="15"/>
                      <a:pt x="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9" name="Groupe 758">
            <a:extLst>
              <a:ext uri="{FF2B5EF4-FFF2-40B4-BE49-F238E27FC236}">
                <a16:creationId xmlns:a16="http://schemas.microsoft.com/office/drawing/2014/main" xmlns="" id="{A65FDB49-1606-45AC-AB69-B1095B1C98CD}"/>
              </a:ext>
            </a:extLst>
          </p:cNvPr>
          <p:cNvGrpSpPr>
            <a:grpSpLocks noChangeAspect="1"/>
          </p:cNvGrpSpPr>
          <p:nvPr/>
        </p:nvGrpSpPr>
        <p:grpSpPr>
          <a:xfrm>
            <a:off x="4185083" y="2631623"/>
            <a:ext cx="769040" cy="720000"/>
            <a:chOff x="7827962" y="3248025"/>
            <a:chExt cx="1095375" cy="1025525"/>
          </a:xfrm>
        </p:grpSpPr>
        <p:sp>
          <p:nvSpPr>
            <p:cNvPr id="760" name="Freeform 297">
              <a:extLst>
                <a:ext uri="{FF2B5EF4-FFF2-40B4-BE49-F238E27FC236}">
                  <a16:creationId xmlns:a16="http://schemas.microsoft.com/office/drawing/2014/main" xmlns="" id="{33A0DE73-980A-41A3-9A05-12C54384D78D}"/>
                </a:ext>
              </a:extLst>
            </p:cNvPr>
            <p:cNvSpPr>
              <a:spLocks/>
            </p:cNvSpPr>
            <p:nvPr/>
          </p:nvSpPr>
          <p:spPr bwMode="auto">
            <a:xfrm>
              <a:off x="7827962" y="3248025"/>
              <a:ext cx="1095375" cy="1025525"/>
            </a:xfrm>
            <a:custGeom>
              <a:avLst/>
              <a:gdLst>
                <a:gd name="T0" fmla="*/ 42 w 292"/>
                <a:gd name="T1" fmla="*/ 214 h 273"/>
                <a:gd name="T2" fmla="*/ 71 w 292"/>
                <a:gd name="T3" fmla="*/ 40 h 273"/>
                <a:gd name="T4" fmla="*/ 251 w 292"/>
                <a:gd name="T5" fmla="*/ 65 h 273"/>
                <a:gd name="T6" fmla="*/ 218 w 292"/>
                <a:gd name="T7" fmla="*/ 231 h 273"/>
                <a:gd name="T8" fmla="*/ 42 w 292"/>
                <a:gd name="T9" fmla="*/ 214 h 273"/>
              </a:gdLst>
              <a:ahLst/>
              <a:cxnLst>
                <a:cxn ang="0">
                  <a:pos x="T0" y="T1"/>
                </a:cxn>
                <a:cxn ang="0">
                  <a:pos x="T2" y="T3"/>
                </a:cxn>
                <a:cxn ang="0">
                  <a:pos x="T4" y="T5"/>
                </a:cxn>
                <a:cxn ang="0">
                  <a:pos x="T6" y="T7"/>
                </a:cxn>
                <a:cxn ang="0">
                  <a:pos x="T8" y="T9"/>
                </a:cxn>
              </a:cxnLst>
              <a:rect l="0" t="0" r="r" b="b"/>
              <a:pathLst>
                <a:path w="292" h="273">
                  <a:moveTo>
                    <a:pt x="42" y="214"/>
                  </a:moveTo>
                  <a:cubicBezTo>
                    <a:pt x="0" y="158"/>
                    <a:pt x="13" y="82"/>
                    <a:pt x="71" y="40"/>
                  </a:cubicBezTo>
                  <a:cubicBezTo>
                    <a:pt x="127" y="0"/>
                    <a:pt x="208" y="11"/>
                    <a:pt x="251" y="65"/>
                  </a:cubicBezTo>
                  <a:cubicBezTo>
                    <a:pt x="292" y="121"/>
                    <a:pt x="275" y="191"/>
                    <a:pt x="218" y="231"/>
                  </a:cubicBezTo>
                  <a:cubicBezTo>
                    <a:pt x="160" y="273"/>
                    <a:pt x="85" y="268"/>
                    <a:pt x="42" y="214"/>
                  </a:cubicBezTo>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61" name="Groupe 760">
              <a:extLst>
                <a:ext uri="{FF2B5EF4-FFF2-40B4-BE49-F238E27FC236}">
                  <a16:creationId xmlns:a16="http://schemas.microsoft.com/office/drawing/2014/main" xmlns="" id="{07A41871-E9AE-4271-A1E9-DB6F87857EC5}"/>
                </a:ext>
              </a:extLst>
            </p:cNvPr>
            <p:cNvGrpSpPr/>
            <p:nvPr/>
          </p:nvGrpSpPr>
          <p:grpSpPr>
            <a:xfrm>
              <a:off x="8185150" y="3405187"/>
              <a:ext cx="352425" cy="741363"/>
              <a:chOff x="8185150" y="3405187"/>
              <a:chExt cx="352425" cy="741363"/>
            </a:xfrm>
          </p:grpSpPr>
          <p:sp>
            <p:nvSpPr>
              <p:cNvPr id="762" name="Freeform 298">
                <a:extLst>
                  <a:ext uri="{FF2B5EF4-FFF2-40B4-BE49-F238E27FC236}">
                    <a16:creationId xmlns:a16="http://schemas.microsoft.com/office/drawing/2014/main" xmlns="" id="{04CC7955-9B32-40D3-9C37-B628C5808D72}"/>
                  </a:ext>
                </a:extLst>
              </p:cNvPr>
              <p:cNvSpPr>
                <a:spLocks/>
              </p:cNvSpPr>
              <p:nvPr/>
            </p:nvSpPr>
            <p:spPr bwMode="auto">
              <a:xfrm>
                <a:off x="8361362" y="3451225"/>
                <a:ext cx="119062" cy="63500"/>
              </a:xfrm>
              <a:custGeom>
                <a:avLst/>
                <a:gdLst>
                  <a:gd name="T0" fmla="*/ 32 w 32"/>
                  <a:gd name="T1" fmla="*/ 9 h 17"/>
                  <a:gd name="T2" fmla="*/ 32 w 32"/>
                  <a:gd name="T3" fmla="*/ 9 h 17"/>
                  <a:gd name="T4" fmla="*/ 23 w 32"/>
                  <a:gd name="T5" fmla="*/ 17 h 17"/>
                  <a:gd name="T6" fmla="*/ 9 w 32"/>
                  <a:gd name="T7" fmla="*/ 17 h 17"/>
                  <a:gd name="T8" fmla="*/ 0 w 32"/>
                  <a:gd name="T9" fmla="*/ 9 h 17"/>
                  <a:gd name="T10" fmla="*/ 0 w 32"/>
                  <a:gd name="T11" fmla="*/ 9 h 17"/>
                  <a:gd name="T12" fmla="*/ 9 w 32"/>
                  <a:gd name="T13" fmla="*/ 0 h 17"/>
                  <a:gd name="T14" fmla="*/ 23 w 32"/>
                  <a:gd name="T15" fmla="*/ 0 h 17"/>
                  <a:gd name="T16" fmla="*/ 32 w 32"/>
                  <a:gd name="T17"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9"/>
                    </a:moveTo>
                    <a:cubicBezTo>
                      <a:pt x="32" y="9"/>
                      <a:pt x="32" y="9"/>
                      <a:pt x="32" y="9"/>
                    </a:cubicBezTo>
                    <a:cubicBezTo>
                      <a:pt x="32" y="13"/>
                      <a:pt x="28" y="17"/>
                      <a:pt x="23" y="17"/>
                    </a:cubicBezTo>
                    <a:cubicBezTo>
                      <a:pt x="9" y="17"/>
                      <a:pt x="9" y="17"/>
                      <a:pt x="9" y="17"/>
                    </a:cubicBezTo>
                    <a:cubicBezTo>
                      <a:pt x="4" y="17"/>
                      <a:pt x="0" y="13"/>
                      <a:pt x="0" y="9"/>
                    </a:cubicBezTo>
                    <a:cubicBezTo>
                      <a:pt x="0" y="9"/>
                      <a:pt x="0" y="9"/>
                      <a:pt x="0" y="9"/>
                    </a:cubicBezTo>
                    <a:cubicBezTo>
                      <a:pt x="0" y="4"/>
                      <a:pt x="4" y="0"/>
                      <a:pt x="9" y="0"/>
                    </a:cubicBezTo>
                    <a:cubicBezTo>
                      <a:pt x="23" y="0"/>
                      <a:pt x="23" y="0"/>
                      <a:pt x="23" y="0"/>
                    </a:cubicBezTo>
                    <a:cubicBezTo>
                      <a:pt x="28" y="0"/>
                      <a:pt x="32" y="4"/>
                      <a:pt x="32" y="9"/>
                    </a:cubicBez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99">
                <a:extLst>
                  <a:ext uri="{FF2B5EF4-FFF2-40B4-BE49-F238E27FC236}">
                    <a16:creationId xmlns:a16="http://schemas.microsoft.com/office/drawing/2014/main" xmlns="" id="{78700E4F-9ED6-4193-A587-0FE83260F37D}"/>
                  </a:ext>
                </a:extLst>
              </p:cNvPr>
              <p:cNvSpPr>
                <a:spLocks/>
              </p:cNvSpPr>
              <p:nvPr/>
            </p:nvSpPr>
            <p:spPr bwMode="auto">
              <a:xfrm>
                <a:off x="8345487" y="3559175"/>
                <a:ext cx="112712" cy="60325"/>
              </a:xfrm>
              <a:custGeom>
                <a:avLst/>
                <a:gdLst>
                  <a:gd name="T0" fmla="*/ 30 w 30"/>
                  <a:gd name="T1" fmla="*/ 8 h 16"/>
                  <a:gd name="T2" fmla="*/ 30 w 30"/>
                  <a:gd name="T3" fmla="*/ 8 h 16"/>
                  <a:gd name="T4" fmla="*/ 22 w 30"/>
                  <a:gd name="T5" fmla="*/ 16 h 16"/>
                  <a:gd name="T6" fmla="*/ 8 w 30"/>
                  <a:gd name="T7" fmla="*/ 16 h 16"/>
                  <a:gd name="T8" fmla="*/ 0 w 30"/>
                  <a:gd name="T9" fmla="*/ 8 h 16"/>
                  <a:gd name="T10" fmla="*/ 0 w 30"/>
                  <a:gd name="T11" fmla="*/ 8 h 16"/>
                  <a:gd name="T12" fmla="*/ 8 w 30"/>
                  <a:gd name="T13" fmla="*/ 0 h 16"/>
                  <a:gd name="T14" fmla="*/ 22 w 30"/>
                  <a:gd name="T15" fmla="*/ 0 h 16"/>
                  <a:gd name="T16" fmla="*/ 30 w 30"/>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6">
                    <a:moveTo>
                      <a:pt x="30" y="8"/>
                    </a:moveTo>
                    <a:cubicBezTo>
                      <a:pt x="30" y="8"/>
                      <a:pt x="30" y="8"/>
                      <a:pt x="30" y="8"/>
                    </a:cubicBezTo>
                    <a:cubicBezTo>
                      <a:pt x="30" y="13"/>
                      <a:pt x="26" y="16"/>
                      <a:pt x="22" y="16"/>
                    </a:cubicBezTo>
                    <a:cubicBezTo>
                      <a:pt x="8" y="16"/>
                      <a:pt x="8" y="16"/>
                      <a:pt x="8" y="16"/>
                    </a:cubicBezTo>
                    <a:cubicBezTo>
                      <a:pt x="3" y="16"/>
                      <a:pt x="0" y="13"/>
                      <a:pt x="0" y="8"/>
                    </a:cubicBezTo>
                    <a:cubicBezTo>
                      <a:pt x="0" y="8"/>
                      <a:pt x="0" y="8"/>
                      <a:pt x="0" y="8"/>
                    </a:cubicBezTo>
                    <a:cubicBezTo>
                      <a:pt x="0" y="4"/>
                      <a:pt x="3" y="0"/>
                      <a:pt x="8" y="0"/>
                    </a:cubicBezTo>
                    <a:cubicBezTo>
                      <a:pt x="22" y="0"/>
                      <a:pt x="22" y="0"/>
                      <a:pt x="22" y="0"/>
                    </a:cubicBezTo>
                    <a:cubicBezTo>
                      <a:pt x="26" y="0"/>
                      <a:pt x="30" y="4"/>
                      <a:pt x="30" y="8"/>
                    </a:cubicBez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300">
                <a:extLst>
                  <a:ext uri="{FF2B5EF4-FFF2-40B4-BE49-F238E27FC236}">
                    <a16:creationId xmlns:a16="http://schemas.microsoft.com/office/drawing/2014/main" xmlns="" id="{DC241CAE-C0B4-4743-8795-150D4E547726}"/>
                  </a:ext>
                </a:extLst>
              </p:cNvPr>
              <p:cNvSpPr>
                <a:spLocks/>
              </p:cNvSpPr>
              <p:nvPr/>
            </p:nvSpPr>
            <p:spPr bwMode="auto">
              <a:xfrm>
                <a:off x="8185150" y="3767137"/>
                <a:ext cx="352425" cy="379413"/>
              </a:xfrm>
              <a:custGeom>
                <a:avLst/>
                <a:gdLst>
                  <a:gd name="T0" fmla="*/ 63 w 94"/>
                  <a:gd name="T1" fmla="*/ 92 h 101"/>
                  <a:gd name="T2" fmla="*/ 8 w 94"/>
                  <a:gd name="T3" fmla="*/ 66 h 101"/>
                  <a:gd name="T4" fmla="*/ 34 w 94"/>
                  <a:gd name="T5" fmla="*/ 9 h 101"/>
                  <a:gd name="T6" fmla="*/ 85 w 94"/>
                  <a:gd name="T7" fmla="*/ 35 h 101"/>
                  <a:gd name="T8" fmla="*/ 63 w 94"/>
                  <a:gd name="T9" fmla="*/ 92 h 101"/>
                </a:gdLst>
                <a:ahLst/>
                <a:cxnLst>
                  <a:cxn ang="0">
                    <a:pos x="T0" y="T1"/>
                  </a:cxn>
                  <a:cxn ang="0">
                    <a:pos x="T2" y="T3"/>
                  </a:cxn>
                  <a:cxn ang="0">
                    <a:pos x="T4" y="T5"/>
                  </a:cxn>
                  <a:cxn ang="0">
                    <a:pos x="T6" y="T7"/>
                  </a:cxn>
                  <a:cxn ang="0">
                    <a:pos x="T8" y="T9"/>
                  </a:cxn>
                </a:cxnLst>
                <a:rect l="0" t="0" r="r" b="b"/>
                <a:pathLst>
                  <a:path w="94" h="101">
                    <a:moveTo>
                      <a:pt x="63" y="92"/>
                    </a:moveTo>
                    <a:cubicBezTo>
                      <a:pt x="41" y="101"/>
                      <a:pt x="16" y="89"/>
                      <a:pt x="8" y="66"/>
                    </a:cubicBezTo>
                    <a:cubicBezTo>
                      <a:pt x="0" y="44"/>
                      <a:pt x="12" y="18"/>
                      <a:pt x="34" y="9"/>
                    </a:cubicBezTo>
                    <a:cubicBezTo>
                      <a:pt x="56" y="0"/>
                      <a:pt x="77" y="13"/>
                      <a:pt x="85" y="35"/>
                    </a:cubicBezTo>
                    <a:cubicBezTo>
                      <a:pt x="94" y="58"/>
                      <a:pt x="85" y="83"/>
                      <a:pt x="63" y="92"/>
                    </a:cubicBezTo>
                  </a:path>
                </a:pathLst>
              </a:custGeom>
              <a:solidFill>
                <a:srgbClr val="E53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301">
                <a:extLst>
                  <a:ext uri="{FF2B5EF4-FFF2-40B4-BE49-F238E27FC236}">
                    <a16:creationId xmlns:a16="http://schemas.microsoft.com/office/drawing/2014/main" xmlns="" id="{8CA7F8EA-E50A-4C19-ACBA-CB914AA6CC30}"/>
                  </a:ext>
                </a:extLst>
              </p:cNvPr>
              <p:cNvSpPr>
                <a:spLocks/>
              </p:cNvSpPr>
              <p:nvPr/>
            </p:nvSpPr>
            <p:spPr bwMode="auto">
              <a:xfrm>
                <a:off x="8270875" y="3860800"/>
                <a:ext cx="179387" cy="190500"/>
              </a:xfrm>
              <a:custGeom>
                <a:avLst/>
                <a:gdLst>
                  <a:gd name="T0" fmla="*/ 32 w 48"/>
                  <a:gd name="T1" fmla="*/ 47 h 51"/>
                  <a:gd name="T2" fmla="*/ 4 w 48"/>
                  <a:gd name="T3" fmla="*/ 34 h 51"/>
                  <a:gd name="T4" fmla="*/ 17 w 48"/>
                  <a:gd name="T5" fmla="*/ 4 h 51"/>
                  <a:gd name="T6" fmla="*/ 44 w 48"/>
                  <a:gd name="T7" fmla="*/ 18 h 51"/>
                  <a:gd name="T8" fmla="*/ 32 w 48"/>
                  <a:gd name="T9" fmla="*/ 47 h 51"/>
                </a:gdLst>
                <a:ahLst/>
                <a:cxnLst>
                  <a:cxn ang="0">
                    <a:pos x="T0" y="T1"/>
                  </a:cxn>
                  <a:cxn ang="0">
                    <a:pos x="T2" y="T3"/>
                  </a:cxn>
                  <a:cxn ang="0">
                    <a:pos x="T4" y="T5"/>
                  </a:cxn>
                  <a:cxn ang="0">
                    <a:pos x="T6" y="T7"/>
                  </a:cxn>
                  <a:cxn ang="0">
                    <a:pos x="T8" y="T9"/>
                  </a:cxn>
                </a:cxnLst>
                <a:rect l="0" t="0" r="r" b="b"/>
                <a:pathLst>
                  <a:path w="48" h="51">
                    <a:moveTo>
                      <a:pt x="32" y="47"/>
                    </a:moveTo>
                    <a:cubicBezTo>
                      <a:pt x="21" y="51"/>
                      <a:pt x="9" y="45"/>
                      <a:pt x="4" y="34"/>
                    </a:cubicBezTo>
                    <a:cubicBezTo>
                      <a:pt x="0" y="22"/>
                      <a:pt x="6" y="9"/>
                      <a:pt x="17" y="4"/>
                    </a:cubicBezTo>
                    <a:cubicBezTo>
                      <a:pt x="29" y="0"/>
                      <a:pt x="40" y="6"/>
                      <a:pt x="44" y="18"/>
                    </a:cubicBezTo>
                    <a:cubicBezTo>
                      <a:pt x="48" y="30"/>
                      <a:pt x="44" y="42"/>
                      <a:pt x="32" y="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302">
                <a:extLst>
                  <a:ext uri="{FF2B5EF4-FFF2-40B4-BE49-F238E27FC236}">
                    <a16:creationId xmlns:a16="http://schemas.microsoft.com/office/drawing/2014/main" xmlns="" id="{68FA5463-10C7-4B39-B008-178FFDBF0ABD}"/>
                  </a:ext>
                </a:extLst>
              </p:cNvPr>
              <p:cNvSpPr>
                <a:spLocks/>
              </p:cNvSpPr>
              <p:nvPr/>
            </p:nvSpPr>
            <p:spPr bwMode="auto">
              <a:xfrm>
                <a:off x="8331200" y="3405187"/>
                <a:ext cx="60325" cy="425450"/>
              </a:xfrm>
              <a:custGeom>
                <a:avLst/>
                <a:gdLst>
                  <a:gd name="T0" fmla="*/ 16 w 16"/>
                  <a:gd name="T1" fmla="*/ 9 h 113"/>
                  <a:gd name="T2" fmla="*/ 16 w 16"/>
                  <a:gd name="T3" fmla="*/ 105 h 113"/>
                  <a:gd name="T4" fmla="*/ 8 w 16"/>
                  <a:gd name="T5" fmla="*/ 113 h 113"/>
                  <a:gd name="T6" fmla="*/ 8 w 16"/>
                  <a:gd name="T7" fmla="*/ 113 h 113"/>
                  <a:gd name="T8" fmla="*/ 0 w 16"/>
                  <a:gd name="T9" fmla="*/ 105 h 113"/>
                  <a:gd name="T10" fmla="*/ 0 w 16"/>
                  <a:gd name="T11" fmla="*/ 9 h 113"/>
                  <a:gd name="T12" fmla="*/ 8 w 16"/>
                  <a:gd name="T13" fmla="*/ 0 h 113"/>
                  <a:gd name="T14" fmla="*/ 8 w 16"/>
                  <a:gd name="T15" fmla="*/ 0 h 113"/>
                  <a:gd name="T16" fmla="*/ 16 w 16"/>
                  <a:gd name="T17"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3">
                    <a:moveTo>
                      <a:pt x="16" y="9"/>
                    </a:moveTo>
                    <a:cubicBezTo>
                      <a:pt x="16" y="105"/>
                      <a:pt x="16" y="105"/>
                      <a:pt x="16" y="105"/>
                    </a:cubicBezTo>
                    <a:cubicBezTo>
                      <a:pt x="16" y="110"/>
                      <a:pt x="13" y="113"/>
                      <a:pt x="8" y="113"/>
                    </a:cubicBezTo>
                    <a:cubicBezTo>
                      <a:pt x="8" y="113"/>
                      <a:pt x="8" y="113"/>
                      <a:pt x="8" y="113"/>
                    </a:cubicBezTo>
                    <a:cubicBezTo>
                      <a:pt x="4" y="113"/>
                      <a:pt x="0" y="110"/>
                      <a:pt x="0" y="105"/>
                    </a:cubicBezTo>
                    <a:cubicBezTo>
                      <a:pt x="0" y="9"/>
                      <a:pt x="0" y="9"/>
                      <a:pt x="0" y="9"/>
                    </a:cubicBezTo>
                    <a:cubicBezTo>
                      <a:pt x="0" y="4"/>
                      <a:pt x="4" y="0"/>
                      <a:pt x="8" y="0"/>
                    </a:cubicBezTo>
                    <a:cubicBezTo>
                      <a:pt x="8" y="0"/>
                      <a:pt x="8" y="0"/>
                      <a:pt x="8" y="0"/>
                    </a:cubicBezTo>
                    <a:cubicBezTo>
                      <a:pt x="13" y="0"/>
                      <a:pt x="16" y="4"/>
                      <a:pt x="16" y="9"/>
                    </a:cubicBezTo>
                    <a:close/>
                  </a:path>
                </a:pathLst>
              </a:custGeom>
              <a:solidFill>
                <a:srgbClr val="E53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7" name="Groupe 776">
            <a:extLst>
              <a:ext uri="{FF2B5EF4-FFF2-40B4-BE49-F238E27FC236}">
                <a16:creationId xmlns:a16="http://schemas.microsoft.com/office/drawing/2014/main" xmlns="" id="{7C649B15-66E3-465D-93A6-11F79B5794DD}"/>
              </a:ext>
            </a:extLst>
          </p:cNvPr>
          <p:cNvGrpSpPr/>
          <p:nvPr/>
        </p:nvGrpSpPr>
        <p:grpSpPr>
          <a:xfrm>
            <a:off x="1387172" y="3935884"/>
            <a:ext cx="688975" cy="658813"/>
            <a:chOff x="4222750" y="4619899"/>
            <a:chExt cx="688975" cy="658813"/>
          </a:xfrm>
        </p:grpSpPr>
        <p:sp>
          <p:nvSpPr>
            <p:cNvPr id="778" name="Freeform 373">
              <a:extLst>
                <a:ext uri="{FF2B5EF4-FFF2-40B4-BE49-F238E27FC236}">
                  <a16:creationId xmlns:a16="http://schemas.microsoft.com/office/drawing/2014/main" xmlns="" id="{82717018-D300-44C3-BF86-8D2CD3E2E3AD}"/>
                </a:ext>
              </a:extLst>
            </p:cNvPr>
            <p:cNvSpPr>
              <a:spLocks/>
            </p:cNvSpPr>
            <p:nvPr/>
          </p:nvSpPr>
          <p:spPr bwMode="auto">
            <a:xfrm>
              <a:off x="4222750" y="4619899"/>
              <a:ext cx="688975" cy="658813"/>
            </a:xfrm>
            <a:custGeom>
              <a:avLst/>
              <a:gdLst>
                <a:gd name="T0" fmla="*/ 367 w 497"/>
                <a:gd name="T1" fmla="*/ 406 h 475"/>
                <a:gd name="T2" fmla="*/ 66 w 497"/>
                <a:gd name="T3" fmla="*/ 381 h 475"/>
                <a:gd name="T4" fmla="*/ 60 w 497"/>
                <a:gd name="T5" fmla="*/ 373 h 475"/>
                <a:gd name="T6" fmla="*/ 25 w 497"/>
                <a:gd name="T7" fmla="*/ 304 h 475"/>
                <a:gd name="T8" fmla="*/ 109 w 497"/>
                <a:gd name="T9" fmla="*/ 71 h 475"/>
                <a:gd name="T10" fmla="*/ 424 w 497"/>
                <a:gd name="T11" fmla="*/ 116 h 475"/>
                <a:gd name="T12" fmla="*/ 367 w 497"/>
                <a:gd name="T13" fmla="*/ 406 h 475"/>
              </a:gdLst>
              <a:ahLst/>
              <a:cxnLst>
                <a:cxn ang="0">
                  <a:pos x="T0" y="T1"/>
                </a:cxn>
                <a:cxn ang="0">
                  <a:pos x="T2" y="T3"/>
                </a:cxn>
                <a:cxn ang="0">
                  <a:pos x="T4" y="T5"/>
                </a:cxn>
                <a:cxn ang="0">
                  <a:pos x="T6" y="T7"/>
                </a:cxn>
                <a:cxn ang="0">
                  <a:pos x="T8" y="T9"/>
                </a:cxn>
                <a:cxn ang="0">
                  <a:pos x="T10" y="T11"/>
                </a:cxn>
                <a:cxn ang="0">
                  <a:pos x="T12" y="T13"/>
                </a:cxn>
              </a:cxnLst>
              <a:rect l="0" t="0" r="r" b="b"/>
              <a:pathLst>
                <a:path w="497" h="475">
                  <a:moveTo>
                    <a:pt x="367" y="406"/>
                  </a:moveTo>
                  <a:cubicBezTo>
                    <a:pt x="269" y="475"/>
                    <a:pt x="141" y="469"/>
                    <a:pt x="66" y="381"/>
                  </a:cubicBezTo>
                  <a:cubicBezTo>
                    <a:pt x="64" y="378"/>
                    <a:pt x="62" y="376"/>
                    <a:pt x="60" y="373"/>
                  </a:cubicBezTo>
                  <a:cubicBezTo>
                    <a:pt x="44" y="352"/>
                    <a:pt x="32" y="329"/>
                    <a:pt x="25" y="304"/>
                  </a:cubicBezTo>
                  <a:cubicBezTo>
                    <a:pt x="0" y="220"/>
                    <a:pt x="31" y="126"/>
                    <a:pt x="109" y="71"/>
                  </a:cubicBezTo>
                  <a:cubicBezTo>
                    <a:pt x="210" y="0"/>
                    <a:pt x="351" y="20"/>
                    <a:pt x="424" y="116"/>
                  </a:cubicBezTo>
                  <a:cubicBezTo>
                    <a:pt x="497" y="211"/>
                    <a:pt x="467" y="335"/>
                    <a:pt x="367" y="406"/>
                  </a:cubicBezTo>
                  <a:close/>
                </a:path>
              </a:pathLst>
            </a:custGeom>
            <a:solidFill>
              <a:srgbClr val="2C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374">
              <a:extLst>
                <a:ext uri="{FF2B5EF4-FFF2-40B4-BE49-F238E27FC236}">
                  <a16:creationId xmlns:a16="http://schemas.microsoft.com/office/drawing/2014/main" xmlns="" id="{88C77872-E91C-4768-BAC3-FAD9CB6928FF}"/>
                </a:ext>
              </a:extLst>
            </p:cNvPr>
            <p:cNvSpPr>
              <a:spLocks/>
            </p:cNvSpPr>
            <p:nvPr/>
          </p:nvSpPr>
          <p:spPr bwMode="auto">
            <a:xfrm>
              <a:off x="4494213" y="4978674"/>
              <a:ext cx="122238" cy="71438"/>
            </a:xfrm>
            <a:custGeom>
              <a:avLst/>
              <a:gdLst>
                <a:gd name="T0" fmla="*/ 88 w 88"/>
                <a:gd name="T1" fmla="*/ 51 h 51"/>
                <a:gd name="T2" fmla="*/ 44 w 88"/>
                <a:gd name="T3" fmla="*/ 48 h 51"/>
                <a:gd name="T4" fmla="*/ 0 w 88"/>
                <a:gd name="T5" fmla="*/ 51 h 51"/>
                <a:gd name="T6" fmla="*/ 44 w 88"/>
                <a:gd name="T7" fmla="*/ 0 h 51"/>
                <a:gd name="T8" fmla="*/ 88 w 88"/>
                <a:gd name="T9" fmla="*/ 51 h 51"/>
              </a:gdLst>
              <a:ahLst/>
              <a:cxnLst>
                <a:cxn ang="0">
                  <a:pos x="T0" y="T1"/>
                </a:cxn>
                <a:cxn ang="0">
                  <a:pos x="T2" y="T3"/>
                </a:cxn>
                <a:cxn ang="0">
                  <a:pos x="T4" y="T5"/>
                </a:cxn>
                <a:cxn ang="0">
                  <a:pos x="T6" y="T7"/>
                </a:cxn>
                <a:cxn ang="0">
                  <a:pos x="T8" y="T9"/>
                </a:cxn>
              </a:cxnLst>
              <a:rect l="0" t="0" r="r" b="b"/>
              <a:pathLst>
                <a:path w="88" h="51">
                  <a:moveTo>
                    <a:pt x="88" y="51"/>
                  </a:moveTo>
                  <a:cubicBezTo>
                    <a:pt x="77" y="49"/>
                    <a:pt x="61" y="48"/>
                    <a:pt x="44" y="48"/>
                  </a:cubicBezTo>
                  <a:cubicBezTo>
                    <a:pt x="27" y="48"/>
                    <a:pt x="12" y="49"/>
                    <a:pt x="0" y="51"/>
                  </a:cubicBezTo>
                  <a:cubicBezTo>
                    <a:pt x="7" y="24"/>
                    <a:pt x="44" y="0"/>
                    <a:pt x="44" y="0"/>
                  </a:cubicBezTo>
                  <a:cubicBezTo>
                    <a:pt x="44" y="0"/>
                    <a:pt x="81" y="24"/>
                    <a:pt x="88" y="51"/>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375">
              <a:extLst>
                <a:ext uri="{FF2B5EF4-FFF2-40B4-BE49-F238E27FC236}">
                  <a16:creationId xmlns:a16="http://schemas.microsoft.com/office/drawing/2014/main" xmlns="" id="{BAD087AC-7EFF-4D9A-9FB1-AFF39673CA5F}"/>
                </a:ext>
              </a:extLst>
            </p:cNvPr>
            <p:cNvSpPr>
              <a:spLocks/>
            </p:cNvSpPr>
            <p:nvPr/>
          </p:nvSpPr>
          <p:spPr bwMode="auto">
            <a:xfrm>
              <a:off x="4532313" y="4873899"/>
              <a:ext cx="77788" cy="68263"/>
            </a:xfrm>
            <a:custGeom>
              <a:avLst/>
              <a:gdLst>
                <a:gd name="T0" fmla="*/ 57 w 57"/>
                <a:gd name="T1" fmla="*/ 0 h 49"/>
                <a:gd name="T2" fmla="*/ 17 w 57"/>
                <a:gd name="T3" fmla="*/ 49 h 49"/>
                <a:gd name="T4" fmla="*/ 0 w 57"/>
                <a:gd name="T5" fmla="*/ 33 h 49"/>
                <a:gd name="T6" fmla="*/ 57 w 57"/>
                <a:gd name="T7" fmla="*/ 0 h 49"/>
              </a:gdLst>
              <a:ahLst/>
              <a:cxnLst>
                <a:cxn ang="0">
                  <a:pos x="T0" y="T1"/>
                </a:cxn>
                <a:cxn ang="0">
                  <a:pos x="T2" y="T3"/>
                </a:cxn>
                <a:cxn ang="0">
                  <a:pos x="T4" y="T5"/>
                </a:cxn>
                <a:cxn ang="0">
                  <a:pos x="T6" y="T7"/>
                </a:cxn>
              </a:cxnLst>
              <a:rect l="0" t="0" r="r" b="b"/>
              <a:pathLst>
                <a:path w="57" h="49">
                  <a:moveTo>
                    <a:pt x="57" y="0"/>
                  </a:moveTo>
                  <a:cubicBezTo>
                    <a:pt x="45" y="27"/>
                    <a:pt x="17" y="49"/>
                    <a:pt x="17" y="49"/>
                  </a:cubicBezTo>
                  <a:cubicBezTo>
                    <a:pt x="17" y="49"/>
                    <a:pt x="9" y="43"/>
                    <a:pt x="0" y="33"/>
                  </a:cubicBezTo>
                  <a:cubicBezTo>
                    <a:pt x="25" y="27"/>
                    <a:pt x="46" y="15"/>
                    <a:pt x="57" y="0"/>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376">
              <a:extLst>
                <a:ext uri="{FF2B5EF4-FFF2-40B4-BE49-F238E27FC236}">
                  <a16:creationId xmlns:a16="http://schemas.microsoft.com/office/drawing/2014/main" xmlns="" id="{73A0223D-19B1-4241-A050-435E0D0C4683}"/>
                </a:ext>
              </a:extLst>
            </p:cNvPr>
            <p:cNvSpPr>
              <a:spLocks noEditPoints="1"/>
            </p:cNvSpPr>
            <p:nvPr/>
          </p:nvSpPr>
          <p:spPr bwMode="auto">
            <a:xfrm>
              <a:off x="4467225" y="4818337"/>
              <a:ext cx="176213" cy="265113"/>
            </a:xfrm>
            <a:custGeom>
              <a:avLst/>
              <a:gdLst>
                <a:gd name="T0" fmla="*/ 123 w 128"/>
                <a:gd name="T1" fmla="*/ 172 h 191"/>
                <a:gd name="T2" fmla="*/ 88 w 128"/>
                <a:gd name="T3" fmla="*/ 95 h 191"/>
                <a:gd name="T4" fmla="*/ 123 w 128"/>
                <a:gd name="T5" fmla="*/ 19 h 191"/>
                <a:gd name="T6" fmla="*/ 128 w 128"/>
                <a:gd name="T7" fmla="*/ 15 h 191"/>
                <a:gd name="T8" fmla="*/ 128 w 128"/>
                <a:gd name="T9" fmla="*/ 14 h 191"/>
                <a:gd name="T10" fmla="*/ 128 w 128"/>
                <a:gd name="T11" fmla="*/ 12 h 191"/>
                <a:gd name="T12" fmla="*/ 71 w 128"/>
                <a:gd name="T13" fmla="*/ 0 h 191"/>
                <a:gd name="T14" fmla="*/ 64 w 128"/>
                <a:gd name="T15" fmla="*/ 0 h 191"/>
                <a:gd name="T16" fmla="*/ 58 w 128"/>
                <a:gd name="T17" fmla="*/ 0 h 191"/>
                <a:gd name="T18" fmla="*/ 0 w 128"/>
                <a:gd name="T19" fmla="*/ 14 h 191"/>
                <a:gd name="T20" fmla="*/ 5 w 128"/>
                <a:gd name="T21" fmla="*/ 19 h 191"/>
                <a:gd name="T22" fmla="*/ 40 w 128"/>
                <a:gd name="T23" fmla="*/ 95 h 191"/>
                <a:gd name="T24" fmla="*/ 5 w 128"/>
                <a:gd name="T25" fmla="*/ 172 h 191"/>
                <a:gd name="T26" fmla="*/ 0 w 128"/>
                <a:gd name="T27" fmla="*/ 177 h 191"/>
                <a:gd name="T28" fmla="*/ 0 w 128"/>
                <a:gd name="T29" fmla="*/ 177 h 191"/>
                <a:gd name="T30" fmla="*/ 0 w 128"/>
                <a:gd name="T31" fmla="*/ 178 h 191"/>
                <a:gd name="T32" fmla="*/ 51 w 128"/>
                <a:gd name="T33" fmla="*/ 190 h 191"/>
                <a:gd name="T34" fmla="*/ 64 w 128"/>
                <a:gd name="T35" fmla="*/ 191 h 191"/>
                <a:gd name="T36" fmla="*/ 76 w 128"/>
                <a:gd name="T37" fmla="*/ 190 h 191"/>
                <a:gd name="T38" fmla="*/ 79 w 128"/>
                <a:gd name="T39" fmla="*/ 190 h 191"/>
                <a:gd name="T40" fmla="*/ 100 w 128"/>
                <a:gd name="T41" fmla="*/ 188 h 191"/>
                <a:gd name="T42" fmla="*/ 105 w 128"/>
                <a:gd name="T43" fmla="*/ 187 h 191"/>
                <a:gd name="T44" fmla="*/ 128 w 128"/>
                <a:gd name="T45" fmla="*/ 179 h 191"/>
                <a:gd name="T46" fmla="*/ 128 w 128"/>
                <a:gd name="T47" fmla="*/ 178 h 191"/>
                <a:gd name="T48" fmla="*/ 128 w 128"/>
                <a:gd name="T49" fmla="*/ 178 h 191"/>
                <a:gd name="T50" fmla="*/ 128 w 128"/>
                <a:gd name="T51" fmla="*/ 177 h 191"/>
                <a:gd name="T52" fmla="*/ 128 w 128"/>
                <a:gd name="T53" fmla="*/ 177 h 191"/>
                <a:gd name="T54" fmla="*/ 123 w 128"/>
                <a:gd name="T55" fmla="*/ 172 h 191"/>
                <a:gd name="T56" fmla="*/ 64 w 128"/>
                <a:gd name="T57" fmla="*/ 164 h 191"/>
                <a:gd name="T58" fmla="*/ 20 w 128"/>
                <a:gd name="T59" fmla="*/ 167 h 191"/>
                <a:gd name="T60" fmla="*/ 14 w 128"/>
                <a:gd name="T61" fmla="*/ 169 h 191"/>
                <a:gd name="T62" fmla="*/ 52 w 128"/>
                <a:gd name="T63" fmla="*/ 100 h 191"/>
                <a:gd name="T64" fmla="*/ 55 w 128"/>
                <a:gd name="T65" fmla="*/ 95 h 191"/>
                <a:gd name="T66" fmla="*/ 52 w 128"/>
                <a:gd name="T67" fmla="*/ 91 h 191"/>
                <a:gd name="T68" fmla="*/ 14 w 128"/>
                <a:gd name="T69" fmla="*/ 22 h 191"/>
                <a:gd name="T70" fmla="*/ 64 w 128"/>
                <a:gd name="T71" fmla="*/ 27 h 191"/>
                <a:gd name="T72" fmla="*/ 114 w 128"/>
                <a:gd name="T73" fmla="*/ 22 h 191"/>
                <a:gd name="T74" fmla="*/ 76 w 128"/>
                <a:gd name="T75" fmla="*/ 91 h 191"/>
                <a:gd name="T76" fmla="*/ 73 w 128"/>
                <a:gd name="T77" fmla="*/ 95 h 191"/>
                <a:gd name="T78" fmla="*/ 76 w 128"/>
                <a:gd name="T79" fmla="*/ 100 h 191"/>
                <a:gd name="T80" fmla="*/ 114 w 128"/>
                <a:gd name="T81" fmla="*/ 169 h 191"/>
                <a:gd name="T82" fmla="*/ 108 w 128"/>
                <a:gd name="T83" fmla="*/ 167 h 191"/>
                <a:gd name="T84" fmla="*/ 64 w 128"/>
                <a:gd name="T85" fmla="*/ 16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8" h="191">
                  <a:moveTo>
                    <a:pt x="123" y="172"/>
                  </a:moveTo>
                  <a:cubicBezTo>
                    <a:pt x="122" y="138"/>
                    <a:pt x="108" y="109"/>
                    <a:pt x="88" y="95"/>
                  </a:cubicBezTo>
                  <a:cubicBezTo>
                    <a:pt x="108" y="82"/>
                    <a:pt x="122" y="53"/>
                    <a:pt x="123" y="19"/>
                  </a:cubicBezTo>
                  <a:cubicBezTo>
                    <a:pt x="125" y="18"/>
                    <a:pt x="127" y="17"/>
                    <a:pt x="128" y="15"/>
                  </a:cubicBezTo>
                  <a:cubicBezTo>
                    <a:pt x="128" y="15"/>
                    <a:pt x="128" y="14"/>
                    <a:pt x="128" y="14"/>
                  </a:cubicBezTo>
                  <a:cubicBezTo>
                    <a:pt x="128" y="13"/>
                    <a:pt x="128" y="13"/>
                    <a:pt x="128" y="12"/>
                  </a:cubicBezTo>
                  <a:cubicBezTo>
                    <a:pt x="124" y="6"/>
                    <a:pt x="100" y="1"/>
                    <a:pt x="71" y="0"/>
                  </a:cubicBezTo>
                  <a:cubicBezTo>
                    <a:pt x="69" y="0"/>
                    <a:pt x="66" y="0"/>
                    <a:pt x="64" y="0"/>
                  </a:cubicBezTo>
                  <a:cubicBezTo>
                    <a:pt x="62" y="0"/>
                    <a:pt x="60" y="0"/>
                    <a:pt x="58" y="0"/>
                  </a:cubicBezTo>
                  <a:cubicBezTo>
                    <a:pt x="25" y="1"/>
                    <a:pt x="0" y="7"/>
                    <a:pt x="0" y="14"/>
                  </a:cubicBezTo>
                  <a:cubicBezTo>
                    <a:pt x="0" y="16"/>
                    <a:pt x="2" y="17"/>
                    <a:pt x="5" y="19"/>
                  </a:cubicBezTo>
                  <a:cubicBezTo>
                    <a:pt x="7" y="53"/>
                    <a:pt x="20" y="82"/>
                    <a:pt x="40" y="95"/>
                  </a:cubicBezTo>
                  <a:cubicBezTo>
                    <a:pt x="20" y="109"/>
                    <a:pt x="7" y="138"/>
                    <a:pt x="5" y="172"/>
                  </a:cubicBezTo>
                  <a:cubicBezTo>
                    <a:pt x="2" y="173"/>
                    <a:pt x="1" y="175"/>
                    <a:pt x="0" y="177"/>
                  </a:cubicBezTo>
                  <a:cubicBezTo>
                    <a:pt x="0" y="177"/>
                    <a:pt x="0" y="177"/>
                    <a:pt x="0" y="177"/>
                  </a:cubicBezTo>
                  <a:cubicBezTo>
                    <a:pt x="0" y="177"/>
                    <a:pt x="0" y="177"/>
                    <a:pt x="0" y="178"/>
                  </a:cubicBezTo>
                  <a:cubicBezTo>
                    <a:pt x="1" y="184"/>
                    <a:pt x="23" y="189"/>
                    <a:pt x="51" y="190"/>
                  </a:cubicBezTo>
                  <a:cubicBezTo>
                    <a:pt x="56" y="190"/>
                    <a:pt x="60" y="191"/>
                    <a:pt x="64" y="191"/>
                  </a:cubicBezTo>
                  <a:cubicBezTo>
                    <a:pt x="68" y="191"/>
                    <a:pt x="72" y="190"/>
                    <a:pt x="76" y="190"/>
                  </a:cubicBezTo>
                  <a:cubicBezTo>
                    <a:pt x="77" y="190"/>
                    <a:pt x="78" y="190"/>
                    <a:pt x="79" y="190"/>
                  </a:cubicBezTo>
                  <a:cubicBezTo>
                    <a:pt x="87" y="190"/>
                    <a:pt x="94" y="189"/>
                    <a:pt x="100" y="188"/>
                  </a:cubicBezTo>
                  <a:cubicBezTo>
                    <a:pt x="102" y="188"/>
                    <a:pt x="103" y="188"/>
                    <a:pt x="105" y="187"/>
                  </a:cubicBezTo>
                  <a:cubicBezTo>
                    <a:pt x="117" y="185"/>
                    <a:pt x="126" y="182"/>
                    <a:pt x="128" y="179"/>
                  </a:cubicBezTo>
                  <a:cubicBezTo>
                    <a:pt x="128" y="179"/>
                    <a:pt x="128" y="179"/>
                    <a:pt x="128" y="178"/>
                  </a:cubicBezTo>
                  <a:cubicBezTo>
                    <a:pt x="128" y="178"/>
                    <a:pt x="128" y="178"/>
                    <a:pt x="128" y="178"/>
                  </a:cubicBezTo>
                  <a:cubicBezTo>
                    <a:pt x="128" y="178"/>
                    <a:pt x="128" y="177"/>
                    <a:pt x="128" y="177"/>
                  </a:cubicBezTo>
                  <a:cubicBezTo>
                    <a:pt x="128" y="177"/>
                    <a:pt x="128" y="177"/>
                    <a:pt x="128" y="177"/>
                  </a:cubicBezTo>
                  <a:cubicBezTo>
                    <a:pt x="128" y="175"/>
                    <a:pt x="126" y="173"/>
                    <a:pt x="123" y="172"/>
                  </a:cubicBezTo>
                  <a:close/>
                  <a:moveTo>
                    <a:pt x="64" y="164"/>
                  </a:moveTo>
                  <a:cubicBezTo>
                    <a:pt x="47" y="164"/>
                    <a:pt x="32" y="165"/>
                    <a:pt x="20" y="167"/>
                  </a:cubicBezTo>
                  <a:cubicBezTo>
                    <a:pt x="18" y="168"/>
                    <a:pt x="16" y="168"/>
                    <a:pt x="14" y="169"/>
                  </a:cubicBezTo>
                  <a:cubicBezTo>
                    <a:pt x="17" y="136"/>
                    <a:pt x="32" y="108"/>
                    <a:pt x="52" y="100"/>
                  </a:cubicBezTo>
                  <a:cubicBezTo>
                    <a:pt x="54" y="100"/>
                    <a:pt x="55" y="98"/>
                    <a:pt x="55" y="95"/>
                  </a:cubicBezTo>
                  <a:cubicBezTo>
                    <a:pt x="55" y="93"/>
                    <a:pt x="54" y="91"/>
                    <a:pt x="52" y="91"/>
                  </a:cubicBezTo>
                  <a:cubicBezTo>
                    <a:pt x="32" y="82"/>
                    <a:pt x="17" y="55"/>
                    <a:pt x="14" y="22"/>
                  </a:cubicBezTo>
                  <a:cubicBezTo>
                    <a:pt x="26" y="25"/>
                    <a:pt x="44" y="27"/>
                    <a:pt x="64" y="27"/>
                  </a:cubicBezTo>
                  <a:cubicBezTo>
                    <a:pt x="84" y="27"/>
                    <a:pt x="102" y="25"/>
                    <a:pt x="114" y="22"/>
                  </a:cubicBezTo>
                  <a:cubicBezTo>
                    <a:pt x="112" y="55"/>
                    <a:pt x="97" y="82"/>
                    <a:pt x="76" y="91"/>
                  </a:cubicBezTo>
                  <a:cubicBezTo>
                    <a:pt x="74" y="91"/>
                    <a:pt x="73" y="93"/>
                    <a:pt x="73" y="95"/>
                  </a:cubicBezTo>
                  <a:cubicBezTo>
                    <a:pt x="73" y="98"/>
                    <a:pt x="74" y="100"/>
                    <a:pt x="76" y="100"/>
                  </a:cubicBezTo>
                  <a:cubicBezTo>
                    <a:pt x="97" y="108"/>
                    <a:pt x="112" y="136"/>
                    <a:pt x="114" y="169"/>
                  </a:cubicBezTo>
                  <a:cubicBezTo>
                    <a:pt x="112" y="168"/>
                    <a:pt x="110" y="168"/>
                    <a:pt x="108" y="167"/>
                  </a:cubicBezTo>
                  <a:cubicBezTo>
                    <a:pt x="97" y="165"/>
                    <a:pt x="81" y="164"/>
                    <a:pt x="64" y="16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6" name="Groupe 785">
            <a:extLst>
              <a:ext uri="{FF2B5EF4-FFF2-40B4-BE49-F238E27FC236}">
                <a16:creationId xmlns:a16="http://schemas.microsoft.com/office/drawing/2014/main" xmlns="" id="{48E4928C-3696-4090-A297-5A39A0D594A5}"/>
              </a:ext>
            </a:extLst>
          </p:cNvPr>
          <p:cNvGrpSpPr>
            <a:grpSpLocks noChangeAspect="1"/>
          </p:cNvGrpSpPr>
          <p:nvPr/>
        </p:nvGrpSpPr>
        <p:grpSpPr>
          <a:xfrm>
            <a:off x="445997" y="5264677"/>
            <a:ext cx="751144" cy="720000"/>
            <a:chOff x="2392363" y="4637362"/>
            <a:chExt cx="650875" cy="623888"/>
          </a:xfrm>
        </p:grpSpPr>
        <p:sp>
          <p:nvSpPr>
            <p:cNvPr id="787" name="Freeform 364">
              <a:extLst>
                <a:ext uri="{FF2B5EF4-FFF2-40B4-BE49-F238E27FC236}">
                  <a16:creationId xmlns:a16="http://schemas.microsoft.com/office/drawing/2014/main" xmlns="" id="{039D44B5-1652-4A21-8BE4-DDD9FE4A5935}"/>
                </a:ext>
              </a:extLst>
            </p:cNvPr>
            <p:cNvSpPr>
              <a:spLocks/>
            </p:cNvSpPr>
            <p:nvPr/>
          </p:nvSpPr>
          <p:spPr bwMode="auto">
            <a:xfrm>
              <a:off x="2392363" y="4637362"/>
              <a:ext cx="650875" cy="623888"/>
            </a:xfrm>
            <a:custGeom>
              <a:avLst/>
              <a:gdLst>
                <a:gd name="T0" fmla="*/ 346 w 470"/>
                <a:gd name="T1" fmla="*/ 384 h 450"/>
                <a:gd name="T2" fmla="*/ 62 w 470"/>
                <a:gd name="T3" fmla="*/ 360 h 450"/>
                <a:gd name="T4" fmla="*/ 56 w 470"/>
                <a:gd name="T5" fmla="*/ 353 h 450"/>
                <a:gd name="T6" fmla="*/ 23 w 470"/>
                <a:gd name="T7" fmla="*/ 288 h 450"/>
                <a:gd name="T8" fmla="*/ 103 w 470"/>
                <a:gd name="T9" fmla="*/ 67 h 450"/>
                <a:gd name="T10" fmla="*/ 400 w 470"/>
                <a:gd name="T11" fmla="*/ 109 h 450"/>
                <a:gd name="T12" fmla="*/ 346 w 470"/>
                <a:gd name="T13" fmla="*/ 384 h 450"/>
              </a:gdLst>
              <a:ahLst/>
              <a:cxnLst>
                <a:cxn ang="0">
                  <a:pos x="T0" y="T1"/>
                </a:cxn>
                <a:cxn ang="0">
                  <a:pos x="T2" y="T3"/>
                </a:cxn>
                <a:cxn ang="0">
                  <a:pos x="T4" y="T5"/>
                </a:cxn>
                <a:cxn ang="0">
                  <a:pos x="T6" y="T7"/>
                </a:cxn>
                <a:cxn ang="0">
                  <a:pos x="T8" y="T9"/>
                </a:cxn>
                <a:cxn ang="0">
                  <a:pos x="T10" y="T11"/>
                </a:cxn>
                <a:cxn ang="0">
                  <a:pos x="T12" y="T13"/>
                </a:cxn>
              </a:cxnLst>
              <a:rect l="0" t="0" r="r" b="b"/>
              <a:pathLst>
                <a:path w="470" h="450">
                  <a:moveTo>
                    <a:pt x="346" y="384"/>
                  </a:moveTo>
                  <a:cubicBezTo>
                    <a:pt x="254" y="450"/>
                    <a:pt x="132" y="444"/>
                    <a:pt x="62" y="360"/>
                  </a:cubicBezTo>
                  <a:cubicBezTo>
                    <a:pt x="60" y="358"/>
                    <a:pt x="58" y="355"/>
                    <a:pt x="56" y="353"/>
                  </a:cubicBezTo>
                  <a:cubicBezTo>
                    <a:pt x="41" y="333"/>
                    <a:pt x="30" y="311"/>
                    <a:pt x="23" y="288"/>
                  </a:cubicBezTo>
                  <a:cubicBezTo>
                    <a:pt x="0" y="209"/>
                    <a:pt x="29" y="120"/>
                    <a:pt x="103" y="67"/>
                  </a:cubicBezTo>
                  <a:cubicBezTo>
                    <a:pt x="198" y="0"/>
                    <a:pt x="331" y="19"/>
                    <a:pt x="400" y="109"/>
                  </a:cubicBezTo>
                  <a:cubicBezTo>
                    <a:pt x="470" y="200"/>
                    <a:pt x="441" y="317"/>
                    <a:pt x="346" y="384"/>
                  </a:cubicBezTo>
                  <a:close/>
                </a:path>
              </a:pathLst>
            </a:custGeom>
            <a:solidFill>
              <a:srgbClr val="2C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365">
              <a:extLst>
                <a:ext uri="{FF2B5EF4-FFF2-40B4-BE49-F238E27FC236}">
                  <a16:creationId xmlns:a16="http://schemas.microsoft.com/office/drawing/2014/main" xmlns="" id="{2926DDB7-1D99-454B-86D8-50659ECD366C}"/>
                </a:ext>
              </a:extLst>
            </p:cNvPr>
            <p:cNvSpPr>
              <a:spLocks/>
            </p:cNvSpPr>
            <p:nvPr/>
          </p:nvSpPr>
          <p:spPr bwMode="auto">
            <a:xfrm>
              <a:off x="2549525" y="4796112"/>
              <a:ext cx="315913" cy="315913"/>
            </a:xfrm>
            <a:custGeom>
              <a:avLst/>
              <a:gdLst>
                <a:gd name="T0" fmla="*/ 207 w 228"/>
                <a:gd name="T1" fmla="*/ 174 h 228"/>
                <a:gd name="T2" fmla="*/ 194 w 228"/>
                <a:gd name="T3" fmla="*/ 177 h 228"/>
                <a:gd name="T4" fmla="*/ 51 w 228"/>
                <a:gd name="T5" fmla="*/ 34 h 228"/>
                <a:gd name="T6" fmla="*/ 54 w 228"/>
                <a:gd name="T7" fmla="*/ 21 h 228"/>
                <a:gd name="T8" fmla="*/ 38 w 228"/>
                <a:gd name="T9" fmla="*/ 0 h 228"/>
                <a:gd name="T10" fmla="*/ 22 w 228"/>
                <a:gd name="T11" fmla="*/ 21 h 228"/>
                <a:gd name="T12" fmla="*/ 22 w 228"/>
                <a:gd name="T13" fmla="*/ 22 h 228"/>
                <a:gd name="T14" fmla="*/ 21 w 228"/>
                <a:gd name="T15" fmla="*/ 22 h 228"/>
                <a:gd name="T16" fmla="*/ 0 w 228"/>
                <a:gd name="T17" fmla="*/ 38 h 228"/>
                <a:gd name="T18" fmla="*/ 21 w 228"/>
                <a:gd name="T19" fmla="*/ 54 h 228"/>
                <a:gd name="T20" fmla="*/ 34 w 228"/>
                <a:gd name="T21" fmla="*/ 51 h 228"/>
                <a:gd name="T22" fmla="*/ 177 w 228"/>
                <a:gd name="T23" fmla="*/ 194 h 228"/>
                <a:gd name="T24" fmla="*/ 174 w 228"/>
                <a:gd name="T25" fmla="*/ 207 h 228"/>
                <a:gd name="T26" fmla="*/ 190 w 228"/>
                <a:gd name="T27" fmla="*/ 228 h 228"/>
                <a:gd name="T28" fmla="*/ 206 w 228"/>
                <a:gd name="T29" fmla="*/ 207 h 228"/>
                <a:gd name="T30" fmla="*/ 206 w 228"/>
                <a:gd name="T31" fmla="*/ 206 h 228"/>
                <a:gd name="T32" fmla="*/ 207 w 228"/>
                <a:gd name="T33" fmla="*/ 206 h 228"/>
                <a:gd name="T34" fmla="*/ 228 w 228"/>
                <a:gd name="T35" fmla="*/ 190 h 228"/>
                <a:gd name="T36" fmla="*/ 207 w 228"/>
                <a:gd name="T37" fmla="*/ 17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 h="228">
                  <a:moveTo>
                    <a:pt x="207" y="174"/>
                  </a:moveTo>
                  <a:cubicBezTo>
                    <a:pt x="202" y="174"/>
                    <a:pt x="197" y="175"/>
                    <a:pt x="194" y="177"/>
                  </a:cubicBezTo>
                  <a:cubicBezTo>
                    <a:pt x="51" y="34"/>
                    <a:pt x="51" y="34"/>
                    <a:pt x="51" y="34"/>
                  </a:cubicBezTo>
                  <a:cubicBezTo>
                    <a:pt x="53" y="30"/>
                    <a:pt x="54" y="26"/>
                    <a:pt x="54" y="21"/>
                  </a:cubicBezTo>
                  <a:cubicBezTo>
                    <a:pt x="54" y="9"/>
                    <a:pt x="47" y="0"/>
                    <a:pt x="38" y="0"/>
                  </a:cubicBezTo>
                  <a:cubicBezTo>
                    <a:pt x="29" y="0"/>
                    <a:pt x="22" y="9"/>
                    <a:pt x="22" y="21"/>
                  </a:cubicBezTo>
                  <a:cubicBezTo>
                    <a:pt x="22" y="21"/>
                    <a:pt x="22" y="21"/>
                    <a:pt x="22" y="22"/>
                  </a:cubicBezTo>
                  <a:cubicBezTo>
                    <a:pt x="22" y="22"/>
                    <a:pt x="21" y="22"/>
                    <a:pt x="21" y="22"/>
                  </a:cubicBezTo>
                  <a:cubicBezTo>
                    <a:pt x="9" y="22"/>
                    <a:pt x="0" y="29"/>
                    <a:pt x="0" y="38"/>
                  </a:cubicBezTo>
                  <a:cubicBezTo>
                    <a:pt x="0" y="47"/>
                    <a:pt x="9" y="54"/>
                    <a:pt x="21" y="54"/>
                  </a:cubicBezTo>
                  <a:cubicBezTo>
                    <a:pt x="26" y="54"/>
                    <a:pt x="30" y="53"/>
                    <a:pt x="34" y="51"/>
                  </a:cubicBezTo>
                  <a:cubicBezTo>
                    <a:pt x="177" y="194"/>
                    <a:pt x="177" y="194"/>
                    <a:pt x="177" y="194"/>
                  </a:cubicBezTo>
                  <a:cubicBezTo>
                    <a:pt x="175" y="198"/>
                    <a:pt x="174" y="202"/>
                    <a:pt x="174" y="207"/>
                  </a:cubicBezTo>
                  <a:cubicBezTo>
                    <a:pt x="174" y="218"/>
                    <a:pt x="181" y="228"/>
                    <a:pt x="190" y="228"/>
                  </a:cubicBezTo>
                  <a:cubicBezTo>
                    <a:pt x="199" y="228"/>
                    <a:pt x="206" y="218"/>
                    <a:pt x="206" y="207"/>
                  </a:cubicBezTo>
                  <a:cubicBezTo>
                    <a:pt x="206" y="207"/>
                    <a:pt x="206" y="206"/>
                    <a:pt x="206" y="206"/>
                  </a:cubicBezTo>
                  <a:cubicBezTo>
                    <a:pt x="206" y="206"/>
                    <a:pt x="207" y="206"/>
                    <a:pt x="207" y="206"/>
                  </a:cubicBezTo>
                  <a:cubicBezTo>
                    <a:pt x="219" y="206"/>
                    <a:pt x="228" y="199"/>
                    <a:pt x="228" y="190"/>
                  </a:cubicBezTo>
                  <a:cubicBezTo>
                    <a:pt x="228" y="181"/>
                    <a:pt x="219" y="174"/>
                    <a:pt x="207" y="174"/>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366">
              <a:extLst>
                <a:ext uri="{FF2B5EF4-FFF2-40B4-BE49-F238E27FC236}">
                  <a16:creationId xmlns:a16="http://schemas.microsoft.com/office/drawing/2014/main" xmlns="" id="{43D6C57C-3FD7-4CA7-BA69-F01D967E9E7E}"/>
                </a:ext>
              </a:extLst>
            </p:cNvPr>
            <p:cNvSpPr>
              <a:spLocks/>
            </p:cNvSpPr>
            <p:nvPr/>
          </p:nvSpPr>
          <p:spPr bwMode="auto">
            <a:xfrm>
              <a:off x="2549525" y="4796112"/>
              <a:ext cx="315913" cy="315913"/>
            </a:xfrm>
            <a:custGeom>
              <a:avLst/>
              <a:gdLst>
                <a:gd name="T0" fmla="*/ 207 w 228"/>
                <a:gd name="T1" fmla="*/ 22 h 228"/>
                <a:gd name="T2" fmla="*/ 206 w 228"/>
                <a:gd name="T3" fmla="*/ 22 h 228"/>
                <a:gd name="T4" fmla="*/ 206 w 228"/>
                <a:gd name="T5" fmla="*/ 21 h 228"/>
                <a:gd name="T6" fmla="*/ 190 w 228"/>
                <a:gd name="T7" fmla="*/ 0 h 228"/>
                <a:gd name="T8" fmla="*/ 174 w 228"/>
                <a:gd name="T9" fmla="*/ 21 h 228"/>
                <a:gd name="T10" fmla="*/ 178 w 228"/>
                <a:gd name="T11" fmla="*/ 34 h 228"/>
                <a:gd name="T12" fmla="*/ 34 w 228"/>
                <a:gd name="T13" fmla="*/ 177 h 228"/>
                <a:gd name="T14" fmla="*/ 21 w 228"/>
                <a:gd name="T15" fmla="*/ 174 h 228"/>
                <a:gd name="T16" fmla="*/ 0 w 228"/>
                <a:gd name="T17" fmla="*/ 190 h 228"/>
                <a:gd name="T18" fmla="*/ 21 w 228"/>
                <a:gd name="T19" fmla="*/ 206 h 228"/>
                <a:gd name="T20" fmla="*/ 22 w 228"/>
                <a:gd name="T21" fmla="*/ 206 h 228"/>
                <a:gd name="T22" fmla="*/ 22 w 228"/>
                <a:gd name="T23" fmla="*/ 207 h 228"/>
                <a:gd name="T24" fmla="*/ 38 w 228"/>
                <a:gd name="T25" fmla="*/ 228 h 228"/>
                <a:gd name="T26" fmla="*/ 54 w 228"/>
                <a:gd name="T27" fmla="*/ 207 h 228"/>
                <a:gd name="T28" fmla="*/ 51 w 228"/>
                <a:gd name="T29" fmla="*/ 194 h 228"/>
                <a:gd name="T30" fmla="*/ 195 w 228"/>
                <a:gd name="T31" fmla="*/ 51 h 228"/>
                <a:gd name="T32" fmla="*/ 207 w 228"/>
                <a:gd name="T33" fmla="*/ 54 h 228"/>
                <a:gd name="T34" fmla="*/ 228 w 228"/>
                <a:gd name="T35" fmla="*/ 38 h 228"/>
                <a:gd name="T36" fmla="*/ 207 w 228"/>
                <a:gd name="T37" fmla="*/ 2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 h="228">
                  <a:moveTo>
                    <a:pt x="207" y="22"/>
                  </a:moveTo>
                  <a:cubicBezTo>
                    <a:pt x="207" y="22"/>
                    <a:pt x="206" y="22"/>
                    <a:pt x="206" y="22"/>
                  </a:cubicBezTo>
                  <a:cubicBezTo>
                    <a:pt x="206" y="21"/>
                    <a:pt x="206" y="21"/>
                    <a:pt x="206" y="21"/>
                  </a:cubicBezTo>
                  <a:cubicBezTo>
                    <a:pt x="206" y="9"/>
                    <a:pt x="199" y="0"/>
                    <a:pt x="190" y="0"/>
                  </a:cubicBezTo>
                  <a:cubicBezTo>
                    <a:pt x="181" y="0"/>
                    <a:pt x="174" y="9"/>
                    <a:pt x="174" y="21"/>
                  </a:cubicBezTo>
                  <a:cubicBezTo>
                    <a:pt x="174" y="26"/>
                    <a:pt x="175" y="30"/>
                    <a:pt x="178" y="34"/>
                  </a:cubicBezTo>
                  <a:cubicBezTo>
                    <a:pt x="34" y="177"/>
                    <a:pt x="34" y="177"/>
                    <a:pt x="34" y="177"/>
                  </a:cubicBezTo>
                  <a:cubicBezTo>
                    <a:pt x="31" y="175"/>
                    <a:pt x="26" y="174"/>
                    <a:pt x="21" y="174"/>
                  </a:cubicBezTo>
                  <a:cubicBezTo>
                    <a:pt x="9" y="174"/>
                    <a:pt x="0" y="181"/>
                    <a:pt x="0" y="190"/>
                  </a:cubicBezTo>
                  <a:cubicBezTo>
                    <a:pt x="0" y="199"/>
                    <a:pt x="9" y="206"/>
                    <a:pt x="21" y="206"/>
                  </a:cubicBezTo>
                  <a:cubicBezTo>
                    <a:pt x="21" y="206"/>
                    <a:pt x="22" y="206"/>
                    <a:pt x="22" y="206"/>
                  </a:cubicBezTo>
                  <a:cubicBezTo>
                    <a:pt x="22" y="206"/>
                    <a:pt x="22" y="207"/>
                    <a:pt x="22" y="207"/>
                  </a:cubicBezTo>
                  <a:cubicBezTo>
                    <a:pt x="22" y="218"/>
                    <a:pt x="29" y="228"/>
                    <a:pt x="38" y="228"/>
                  </a:cubicBezTo>
                  <a:cubicBezTo>
                    <a:pt x="47" y="228"/>
                    <a:pt x="54" y="218"/>
                    <a:pt x="54" y="207"/>
                  </a:cubicBezTo>
                  <a:cubicBezTo>
                    <a:pt x="54" y="202"/>
                    <a:pt x="53" y="198"/>
                    <a:pt x="51" y="194"/>
                  </a:cubicBezTo>
                  <a:cubicBezTo>
                    <a:pt x="195" y="51"/>
                    <a:pt x="195" y="51"/>
                    <a:pt x="195" y="51"/>
                  </a:cubicBezTo>
                  <a:cubicBezTo>
                    <a:pt x="198" y="53"/>
                    <a:pt x="202" y="54"/>
                    <a:pt x="207" y="54"/>
                  </a:cubicBezTo>
                  <a:cubicBezTo>
                    <a:pt x="219" y="54"/>
                    <a:pt x="228" y="47"/>
                    <a:pt x="228" y="38"/>
                  </a:cubicBezTo>
                  <a:cubicBezTo>
                    <a:pt x="228" y="29"/>
                    <a:pt x="219" y="22"/>
                    <a:pt x="207" y="22"/>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367">
              <a:extLst>
                <a:ext uri="{FF2B5EF4-FFF2-40B4-BE49-F238E27FC236}">
                  <a16:creationId xmlns:a16="http://schemas.microsoft.com/office/drawing/2014/main" xmlns="" id="{2962ECF8-C971-4EA5-A4C7-820C5994D423}"/>
                </a:ext>
              </a:extLst>
            </p:cNvPr>
            <p:cNvSpPr>
              <a:spLocks noEditPoints="1"/>
            </p:cNvSpPr>
            <p:nvPr/>
          </p:nvSpPr>
          <p:spPr bwMode="auto">
            <a:xfrm>
              <a:off x="2620963" y="4837387"/>
              <a:ext cx="174625" cy="163513"/>
            </a:xfrm>
            <a:custGeom>
              <a:avLst/>
              <a:gdLst>
                <a:gd name="T0" fmla="*/ 126 w 126"/>
                <a:gd name="T1" fmla="*/ 59 h 118"/>
                <a:gd name="T2" fmla="*/ 63 w 126"/>
                <a:gd name="T3" fmla="*/ 118 h 118"/>
                <a:gd name="T4" fmla="*/ 0 w 126"/>
                <a:gd name="T5" fmla="*/ 59 h 118"/>
                <a:gd name="T6" fmla="*/ 63 w 126"/>
                <a:gd name="T7" fmla="*/ 0 h 118"/>
                <a:gd name="T8" fmla="*/ 126 w 126"/>
                <a:gd name="T9" fmla="*/ 59 h 118"/>
                <a:gd name="T10" fmla="*/ 126 w 126"/>
                <a:gd name="T11" fmla="*/ 59 h 118"/>
                <a:gd name="T12" fmla="*/ 126 w 126"/>
                <a:gd name="T13" fmla="*/ 59 h 118"/>
              </a:gdLst>
              <a:ahLst/>
              <a:cxnLst>
                <a:cxn ang="0">
                  <a:pos x="T0" y="T1"/>
                </a:cxn>
                <a:cxn ang="0">
                  <a:pos x="T2" y="T3"/>
                </a:cxn>
                <a:cxn ang="0">
                  <a:pos x="T4" y="T5"/>
                </a:cxn>
                <a:cxn ang="0">
                  <a:pos x="T6" y="T7"/>
                </a:cxn>
                <a:cxn ang="0">
                  <a:pos x="T8" y="T9"/>
                </a:cxn>
                <a:cxn ang="0">
                  <a:pos x="T10" y="T11"/>
                </a:cxn>
                <a:cxn ang="0">
                  <a:pos x="T12" y="T13"/>
                </a:cxn>
              </a:cxnLst>
              <a:rect l="0" t="0" r="r" b="b"/>
              <a:pathLst>
                <a:path w="126" h="118">
                  <a:moveTo>
                    <a:pt x="126" y="59"/>
                  </a:moveTo>
                  <a:cubicBezTo>
                    <a:pt x="126" y="92"/>
                    <a:pt x="98" y="118"/>
                    <a:pt x="63" y="118"/>
                  </a:cubicBezTo>
                  <a:cubicBezTo>
                    <a:pt x="28" y="118"/>
                    <a:pt x="0" y="92"/>
                    <a:pt x="0" y="59"/>
                  </a:cubicBezTo>
                  <a:cubicBezTo>
                    <a:pt x="0" y="27"/>
                    <a:pt x="28" y="0"/>
                    <a:pt x="63" y="0"/>
                  </a:cubicBezTo>
                  <a:cubicBezTo>
                    <a:pt x="98" y="0"/>
                    <a:pt x="126" y="27"/>
                    <a:pt x="126" y="59"/>
                  </a:cubicBezTo>
                  <a:close/>
                  <a:moveTo>
                    <a:pt x="126" y="59"/>
                  </a:moveTo>
                  <a:cubicBezTo>
                    <a:pt x="126" y="59"/>
                    <a:pt x="126" y="59"/>
                    <a:pt x="126" y="59"/>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368">
              <a:extLst>
                <a:ext uri="{FF2B5EF4-FFF2-40B4-BE49-F238E27FC236}">
                  <a16:creationId xmlns:a16="http://schemas.microsoft.com/office/drawing/2014/main" xmlns="" id="{3F2A38BD-E4E4-4CF2-93D5-1FF8B92F4011}"/>
                </a:ext>
              </a:extLst>
            </p:cNvPr>
            <p:cNvSpPr>
              <a:spLocks/>
            </p:cNvSpPr>
            <p:nvPr/>
          </p:nvSpPr>
          <p:spPr bwMode="auto">
            <a:xfrm>
              <a:off x="2613025" y="4829449"/>
              <a:ext cx="190500" cy="212725"/>
            </a:xfrm>
            <a:custGeom>
              <a:avLst/>
              <a:gdLst>
                <a:gd name="T0" fmla="*/ 138 w 138"/>
                <a:gd name="T1" fmla="*/ 64 h 153"/>
                <a:gd name="T2" fmla="*/ 69 w 138"/>
                <a:gd name="T3" fmla="*/ 0 h 153"/>
                <a:gd name="T4" fmla="*/ 0 w 138"/>
                <a:gd name="T5" fmla="*/ 64 h 153"/>
                <a:gd name="T6" fmla="*/ 13 w 138"/>
                <a:gd name="T7" fmla="*/ 102 h 153"/>
                <a:gd name="T8" fmla="*/ 11 w 138"/>
                <a:gd name="T9" fmla="*/ 125 h 153"/>
                <a:gd name="T10" fmla="*/ 17 w 138"/>
                <a:gd name="T11" fmla="*/ 129 h 153"/>
                <a:gd name="T12" fmla="*/ 39 w 138"/>
                <a:gd name="T13" fmla="*/ 138 h 153"/>
                <a:gd name="T14" fmla="*/ 39 w 138"/>
                <a:gd name="T15" fmla="*/ 145 h 153"/>
                <a:gd name="T16" fmla="*/ 52 w 138"/>
                <a:gd name="T17" fmla="*/ 151 h 153"/>
                <a:gd name="T18" fmla="*/ 53 w 138"/>
                <a:gd name="T19" fmla="*/ 151 h 153"/>
                <a:gd name="T20" fmla="*/ 54 w 138"/>
                <a:gd name="T21" fmla="*/ 151 h 153"/>
                <a:gd name="T22" fmla="*/ 55 w 138"/>
                <a:gd name="T23" fmla="*/ 152 h 153"/>
                <a:gd name="T24" fmla="*/ 68 w 138"/>
                <a:gd name="T25" fmla="*/ 153 h 153"/>
                <a:gd name="T26" fmla="*/ 68 w 138"/>
                <a:gd name="T27" fmla="*/ 153 h 153"/>
                <a:gd name="T28" fmla="*/ 69 w 138"/>
                <a:gd name="T29" fmla="*/ 153 h 153"/>
                <a:gd name="T30" fmla="*/ 70 w 138"/>
                <a:gd name="T31" fmla="*/ 153 h 153"/>
                <a:gd name="T32" fmla="*/ 85 w 138"/>
                <a:gd name="T33" fmla="*/ 151 h 153"/>
                <a:gd name="T34" fmla="*/ 86 w 138"/>
                <a:gd name="T35" fmla="*/ 151 h 153"/>
                <a:gd name="T36" fmla="*/ 87 w 138"/>
                <a:gd name="T37" fmla="*/ 151 h 153"/>
                <a:gd name="T38" fmla="*/ 87 w 138"/>
                <a:gd name="T39" fmla="*/ 151 h 153"/>
                <a:gd name="T40" fmla="*/ 98 w 138"/>
                <a:gd name="T41" fmla="*/ 145 h 153"/>
                <a:gd name="T42" fmla="*/ 98 w 138"/>
                <a:gd name="T43" fmla="*/ 137 h 153"/>
                <a:gd name="T44" fmla="*/ 119 w 138"/>
                <a:gd name="T45" fmla="*/ 129 h 153"/>
                <a:gd name="T46" fmla="*/ 119 w 138"/>
                <a:gd name="T47" fmla="*/ 129 h 153"/>
                <a:gd name="T48" fmla="*/ 125 w 138"/>
                <a:gd name="T49" fmla="*/ 125 h 153"/>
                <a:gd name="T50" fmla="*/ 124 w 138"/>
                <a:gd name="T51" fmla="*/ 103 h 153"/>
                <a:gd name="T52" fmla="*/ 138 w 138"/>
                <a:gd name="T53" fmla="*/ 6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8" h="153">
                  <a:moveTo>
                    <a:pt x="138" y="64"/>
                  </a:moveTo>
                  <a:cubicBezTo>
                    <a:pt x="138" y="29"/>
                    <a:pt x="107" y="0"/>
                    <a:pt x="69" y="0"/>
                  </a:cubicBezTo>
                  <a:cubicBezTo>
                    <a:pt x="31" y="0"/>
                    <a:pt x="0" y="29"/>
                    <a:pt x="0" y="64"/>
                  </a:cubicBezTo>
                  <a:cubicBezTo>
                    <a:pt x="0" y="78"/>
                    <a:pt x="5" y="91"/>
                    <a:pt x="13" y="102"/>
                  </a:cubicBezTo>
                  <a:cubicBezTo>
                    <a:pt x="9" y="113"/>
                    <a:pt x="9" y="120"/>
                    <a:pt x="11" y="125"/>
                  </a:cubicBezTo>
                  <a:cubicBezTo>
                    <a:pt x="13" y="127"/>
                    <a:pt x="15" y="128"/>
                    <a:pt x="17" y="129"/>
                  </a:cubicBezTo>
                  <a:cubicBezTo>
                    <a:pt x="21" y="130"/>
                    <a:pt x="35" y="135"/>
                    <a:pt x="39" y="138"/>
                  </a:cubicBezTo>
                  <a:cubicBezTo>
                    <a:pt x="39" y="145"/>
                    <a:pt x="39" y="145"/>
                    <a:pt x="39" y="145"/>
                  </a:cubicBezTo>
                  <a:cubicBezTo>
                    <a:pt x="39" y="147"/>
                    <a:pt x="40" y="149"/>
                    <a:pt x="52" y="151"/>
                  </a:cubicBezTo>
                  <a:cubicBezTo>
                    <a:pt x="53" y="151"/>
                    <a:pt x="53" y="151"/>
                    <a:pt x="53" y="151"/>
                  </a:cubicBezTo>
                  <a:cubicBezTo>
                    <a:pt x="53" y="151"/>
                    <a:pt x="53" y="151"/>
                    <a:pt x="54" y="151"/>
                  </a:cubicBezTo>
                  <a:cubicBezTo>
                    <a:pt x="54" y="151"/>
                    <a:pt x="54" y="152"/>
                    <a:pt x="55" y="152"/>
                  </a:cubicBezTo>
                  <a:cubicBezTo>
                    <a:pt x="59" y="153"/>
                    <a:pt x="64" y="153"/>
                    <a:pt x="68" y="153"/>
                  </a:cubicBezTo>
                  <a:cubicBezTo>
                    <a:pt x="68" y="153"/>
                    <a:pt x="68" y="153"/>
                    <a:pt x="68" y="153"/>
                  </a:cubicBezTo>
                  <a:cubicBezTo>
                    <a:pt x="68" y="153"/>
                    <a:pt x="68" y="153"/>
                    <a:pt x="69" y="153"/>
                  </a:cubicBezTo>
                  <a:cubicBezTo>
                    <a:pt x="69" y="153"/>
                    <a:pt x="69" y="153"/>
                    <a:pt x="70" y="153"/>
                  </a:cubicBezTo>
                  <a:cubicBezTo>
                    <a:pt x="74" y="153"/>
                    <a:pt x="80" y="152"/>
                    <a:pt x="85" y="151"/>
                  </a:cubicBezTo>
                  <a:cubicBezTo>
                    <a:pt x="85" y="151"/>
                    <a:pt x="86" y="151"/>
                    <a:pt x="86" y="151"/>
                  </a:cubicBezTo>
                  <a:cubicBezTo>
                    <a:pt x="86" y="151"/>
                    <a:pt x="87" y="151"/>
                    <a:pt x="87" y="151"/>
                  </a:cubicBezTo>
                  <a:cubicBezTo>
                    <a:pt x="87" y="151"/>
                    <a:pt x="87" y="151"/>
                    <a:pt x="87" y="151"/>
                  </a:cubicBezTo>
                  <a:cubicBezTo>
                    <a:pt x="96" y="149"/>
                    <a:pt x="98" y="147"/>
                    <a:pt x="98" y="145"/>
                  </a:cubicBezTo>
                  <a:cubicBezTo>
                    <a:pt x="98" y="137"/>
                    <a:pt x="98" y="137"/>
                    <a:pt x="98" y="137"/>
                  </a:cubicBezTo>
                  <a:cubicBezTo>
                    <a:pt x="102" y="135"/>
                    <a:pt x="109" y="132"/>
                    <a:pt x="119" y="129"/>
                  </a:cubicBezTo>
                  <a:cubicBezTo>
                    <a:pt x="119" y="129"/>
                    <a:pt x="119" y="129"/>
                    <a:pt x="119" y="129"/>
                  </a:cubicBezTo>
                  <a:cubicBezTo>
                    <a:pt x="122" y="128"/>
                    <a:pt x="124" y="127"/>
                    <a:pt x="125" y="125"/>
                  </a:cubicBezTo>
                  <a:cubicBezTo>
                    <a:pt x="128" y="120"/>
                    <a:pt x="127" y="113"/>
                    <a:pt x="124" y="103"/>
                  </a:cubicBezTo>
                  <a:cubicBezTo>
                    <a:pt x="133" y="92"/>
                    <a:pt x="138" y="79"/>
                    <a:pt x="138" y="64"/>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369">
              <a:extLst>
                <a:ext uri="{FF2B5EF4-FFF2-40B4-BE49-F238E27FC236}">
                  <a16:creationId xmlns:a16="http://schemas.microsoft.com/office/drawing/2014/main" xmlns="" id="{B95D5E0F-2059-4E15-B70E-0616A033B80D}"/>
                </a:ext>
              </a:extLst>
            </p:cNvPr>
            <p:cNvSpPr>
              <a:spLocks/>
            </p:cNvSpPr>
            <p:nvPr/>
          </p:nvSpPr>
          <p:spPr bwMode="auto">
            <a:xfrm>
              <a:off x="2662238" y="5027887"/>
              <a:ext cx="90488" cy="50800"/>
            </a:xfrm>
            <a:custGeom>
              <a:avLst/>
              <a:gdLst>
                <a:gd name="T0" fmla="*/ 33 w 65"/>
                <a:gd name="T1" fmla="*/ 19 h 37"/>
                <a:gd name="T2" fmla="*/ 0 w 65"/>
                <a:gd name="T3" fmla="*/ 5 h 37"/>
                <a:gd name="T4" fmla="*/ 8 w 65"/>
                <a:gd name="T5" fmla="*/ 29 h 37"/>
                <a:gd name="T6" fmla="*/ 33 w 65"/>
                <a:gd name="T7" fmla="*/ 37 h 37"/>
                <a:gd name="T8" fmla="*/ 57 w 65"/>
                <a:gd name="T9" fmla="*/ 29 h 37"/>
                <a:gd name="T10" fmla="*/ 65 w 65"/>
                <a:gd name="T11" fmla="*/ 5 h 37"/>
                <a:gd name="T12" fmla="*/ 33 w 65"/>
                <a:gd name="T13" fmla="*/ 19 h 37"/>
              </a:gdLst>
              <a:ahLst/>
              <a:cxnLst>
                <a:cxn ang="0">
                  <a:pos x="T0" y="T1"/>
                </a:cxn>
                <a:cxn ang="0">
                  <a:pos x="T2" y="T3"/>
                </a:cxn>
                <a:cxn ang="0">
                  <a:pos x="T4" y="T5"/>
                </a:cxn>
                <a:cxn ang="0">
                  <a:pos x="T6" y="T7"/>
                </a:cxn>
                <a:cxn ang="0">
                  <a:pos x="T8" y="T9"/>
                </a:cxn>
                <a:cxn ang="0">
                  <a:pos x="T10" y="T11"/>
                </a:cxn>
                <a:cxn ang="0">
                  <a:pos x="T12" y="T13"/>
                </a:cxn>
              </a:cxnLst>
              <a:rect l="0" t="0" r="r" b="b"/>
              <a:pathLst>
                <a:path w="65" h="37">
                  <a:moveTo>
                    <a:pt x="33" y="19"/>
                  </a:moveTo>
                  <a:cubicBezTo>
                    <a:pt x="8" y="19"/>
                    <a:pt x="0" y="0"/>
                    <a:pt x="0" y="5"/>
                  </a:cubicBezTo>
                  <a:cubicBezTo>
                    <a:pt x="0" y="13"/>
                    <a:pt x="1" y="22"/>
                    <a:pt x="8" y="29"/>
                  </a:cubicBezTo>
                  <a:cubicBezTo>
                    <a:pt x="12" y="33"/>
                    <a:pt x="24" y="37"/>
                    <a:pt x="33" y="37"/>
                  </a:cubicBezTo>
                  <a:cubicBezTo>
                    <a:pt x="41" y="37"/>
                    <a:pt x="53" y="33"/>
                    <a:pt x="57" y="29"/>
                  </a:cubicBezTo>
                  <a:cubicBezTo>
                    <a:pt x="64" y="22"/>
                    <a:pt x="65" y="13"/>
                    <a:pt x="65" y="5"/>
                  </a:cubicBezTo>
                  <a:cubicBezTo>
                    <a:pt x="65" y="0"/>
                    <a:pt x="57" y="19"/>
                    <a:pt x="33" y="19"/>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370">
              <a:extLst>
                <a:ext uri="{FF2B5EF4-FFF2-40B4-BE49-F238E27FC236}">
                  <a16:creationId xmlns:a16="http://schemas.microsoft.com/office/drawing/2014/main" xmlns="" id="{AE631B2D-608F-4DBF-8C4B-92BBC82D229B}"/>
                </a:ext>
              </a:extLst>
            </p:cNvPr>
            <p:cNvSpPr>
              <a:spLocks noEditPoints="1"/>
            </p:cNvSpPr>
            <p:nvPr/>
          </p:nvSpPr>
          <p:spPr bwMode="auto">
            <a:xfrm>
              <a:off x="2649538" y="4932637"/>
              <a:ext cx="42863" cy="33338"/>
            </a:xfrm>
            <a:custGeom>
              <a:avLst/>
              <a:gdLst>
                <a:gd name="T0" fmla="*/ 32 w 32"/>
                <a:gd name="T1" fmla="*/ 13 h 24"/>
                <a:gd name="T2" fmla="*/ 16 w 32"/>
                <a:gd name="T3" fmla="*/ 24 h 24"/>
                <a:gd name="T4" fmla="*/ 0 w 32"/>
                <a:gd name="T5" fmla="*/ 13 h 24"/>
                <a:gd name="T6" fmla="*/ 16 w 32"/>
                <a:gd name="T7" fmla="*/ 0 h 24"/>
                <a:gd name="T8" fmla="*/ 32 w 32"/>
                <a:gd name="T9" fmla="*/ 13 h 24"/>
                <a:gd name="T10" fmla="*/ 32 w 32"/>
                <a:gd name="T11" fmla="*/ 13 h 24"/>
                <a:gd name="T12" fmla="*/ 32 w 32"/>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32" y="13"/>
                  </a:moveTo>
                  <a:cubicBezTo>
                    <a:pt x="32" y="21"/>
                    <a:pt x="25" y="24"/>
                    <a:pt x="16" y="24"/>
                  </a:cubicBezTo>
                  <a:cubicBezTo>
                    <a:pt x="7" y="24"/>
                    <a:pt x="0" y="21"/>
                    <a:pt x="0" y="13"/>
                  </a:cubicBezTo>
                  <a:cubicBezTo>
                    <a:pt x="0" y="10"/>
                    <a:pt x="7" y="0"/>
                    <a:pt x="16" y="0"/>
                  </a:cubicBezTo>
                  <a:cubicBezTo>
                    <a:pt x="25" y="0"/>
                    <a:pt x="32" y="7"/>
                    <a:pt x="32" y="13"/>
                  </a:cubicBezTo>
                  <a:close/>
                  <a:moveTo>
                    <a:pt x="32" y="13"/>
                  </a:moveTo>
                  <a:cubicBezTo>
                    <a:pt x="32" y="13"/>
                    <a:pt x="32" y="13"/>
                    <a:pt x="32" y="13"/>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371">
              <a:extLst>
                <a:ext uri="{FF2B5EF4-FFF2-40B4-BE49-F238E27FC236}">
                  <a16:creationId xmlns:a16="http://schemas.microsoft.com/office/drawing/2014/main" xmlns="" id="{63A49252-C16C-4240-B45F-9992858F451E}"/>
                </a:ext>
              </a:extLst>
            </p:cNvPr>
            <p:cNvSpPr>
              <a:spLocks noEditPoints="1"/>
            </p:cNvSpPr>
            <p:nvPr/>
          </p:nvSpPr>
          <p:spPr bwMode="auto">
            <a:xfrm>
              <a:off x="2724150" y="4932637"/>
              <a:ext cx="44450" cy="33338"/>
            </a:xfrm>
            <a:custGeom>
              <a:avLst/>
              <a:gdLst>
                <a:gd name="T0" fmla="*/ 0 w 32"/>
                <a:gd name="T1" fmla="*/ 13 h 24"/>
                <a:gd name="T2" fmla="*/ 16 w 32"/>
                <a:gd name="T3" fmla="*/ 24 h 24"/>
                <a:gd name="T4" fmla="*/ 32 w 32"/>
                <a:gd name="T5" fmla="*/ 13 h 24"/>
                <a:gd name="T6" fmla="*/ 16 w 32"/>
                <a:gd name="T7" fmla="*/ 0 h 24"/>
                <a:gd name="T8" fmla="*/ 0 w 32"/>
                <a:gd name="T9" fmla="*/ 13 h 24"/>
                <a:gd name="T10" fmla="*/ 0 w 32"/>
                <a:gd name="T11" fmla="*/ 13 h 24"/>
                <a:gd name="T12" fmla="*/ 0 w 32"/>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0" y="13"/>
                  </a:moveTo>
                  <a:cubicBezTo>
                    <a:pt x="0" y="21"/>
                    <a:pt x="7" y="24"/>
                    <a:pt x="16" y="24"/>
                  </a:cubicBezTo>
                  <a:cubicBezTo>
                    <a:pt x="25" y="24"/>
                    <a:pt x="32" y="21"/>
                    <a:pt x="32" y="13"/>
                  </a:cubicBezTo>
                  <a:cubicBezTo>
                    <a:pt x="32" y="10"/>
                    <a:pt x="25" y="0"/>
                    <a:pt x="16" y="0"/>
                  </a:cubicBezTo>
                  <a:cubicBezTo>
                    <a:pt x="7" y="0"/>
                    <a:pt x="0" y="7"/>
                    <a:pt x="0" y="13"/>
                  </a:cubicBezTo>
                  <a:close/>
                  <a:moveTo>
                    <a:pt x="0" y="13"/>
                  </a:moveTo>
                  <a:cubicBezTo>
                    <a:pt x="0" y="13"/>
                    <a:pt x="0" y="13"/>
                    <a:pt x="0" y="13"/>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372">
              <a:extLst>
                <a:ext uri="{FF2B5EF4-FFF2-40B4-BE49-F238E27FC236}">
                  <a16:creationId xmlns:a16="http://schemas.microsoft.com/office/drawing/2014/main" xmlns="" id="{A01EA2CD-C3FB-43A7-9BED-324099F493E5}"/>
                </a:ext>
              </a:extLst>
            </p:cNvPr>
            <p:cNvSpPr>
              <a:spLocks noEditPoints="1"/>
            </p:cNvSpPr>
            <p:nvPr/>
          </p:nvSpPr>
          <p:spPr bwMode="auto">
            <a:xfrm>
              <a:off x="2695575" y="4951687"/>
              <a:ext cx="28575" cy="38100"/>
            </a:xfrm>
            <a:custGeom>
              <a:avLst/>
              <a:gdLst>
                <a:gd name="T0" fmla="*/ 9 w 20"/>
                <a:gd name="T1" fmla="*/ 0 h 28"/>
                <a:gd name="T2" fmla="*/ 0 w 20"/>
                <a:gd name="T3" fmla="*/ 28 h 28"/>
                <a:gd name="T4" fmla="*/ 20 w 20"/>
                <a:gd name="T5" fmla="*/ 28 h 28"/>
                <a:gd name="T6" fmla="*/ 9 w 20"/>
                <a:gd name="T7" fmla="*/ 0 h 28"/>
                <a:gd name="T8" fmla="*/ 9 w 20"/>
                <a:gd name="T9" fmla="*/ 0 h 28"/>
                <a:gd name="T10" fmla="*/ 9 w 20"/>
                <a:gd name="T11" fmla="*/ 0 h 28"/>
              </a:gdLst>
              <a:ahLst/>
              <a:cxnLst>
                <a:cxn ang="0">
                  <a:pos x="T0" y="T1"/>
                </a:cxn>
                <a:cxn ang="0">
                  <a:pos x="T2" y="T3"/>
                </a:cxn>
                <a:cxn ang="0">
                  <a:pos x="T4" y="T5"/>
                </a:cxn>
                <a:cxn ang="0">
                  <a:pos x="T6" y="T7"/>
                </a:cxn>
                <a:cxn ang="0">
                  <a:pos x="T8" y="T9"/>
                </a:cxn>
                <a:cxn ang="0">
                  <a:pos x="T10" y="T11"/>
                </a:cxn>
              </a:cxnLst>
              <a:rect l="0" t="0" r="r" b="b"/>
              <a:pathLst>
                <a:path w="20" h="28">
                  <a:moveTo>
                    <a:pt x="9" y="0"/>
                  </a:moveTo>
                  <a:cubicBezTo>
                    <a:pt x="9" y="0"/>
                    <a:pt x="0" y="12"/>
                    <a:pt x="0" y="28"/>
                  </a:cubicBezTo>
                  <a:cubicBezTo>
                    <a:pt x="0" y="28"/>
                    <a:pt x="10" y="19"/>
                    <a:pt x="20" y="28"/>
                  </a:cubicBezTo>
                  <a:cubicBezTo>
                    <a:pt x="20" y="28"/>
                    <a:pt x="18" y="9"/>
                    <a:pt x="9" y="0"/>
                  </a:cubicBezTo>
                  <a:close/>
                  <a:moveTo>
                    <a:pt x="9" y="0"/>
                  </a:moveTo>
                  <a:cubicBezTo>
                    <a:pt x="9" y="0"/>
                    <a:pt x="9" y="0"/>
                    <a:pt x="9" y="0"/>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e 10">
            <a:extLst>
              <a:ext uri="{FF2B5EF4-FFF2-40B4-BE49-F238E27FC236}">
                <a16:creationId xmlns:a16="http://schemas.microsoft.com/office/drawing/2014/main" xmlns="" id="{9B37DBB5-2581-4646-947D-B915C6AEFA2B}"/>
              </a:ext>
            </a:extLst>
          </p:cNvPr>
          <p:cNvGrpSpPr/>
          <p:nvPr/>
        </p:nvGrpSpPr>
        <p:grpSpPr>
          <a:xfrm>
            <a:off x="591069" y="6098501"/>
            <a:ext cx="9824931" cy="138499"/>
            <a:chOff x="568934" y="6165000"/>
            <a:chExt cx="9824931" cy="138499"/>
          </a:xfrm>
        </p:grpSpPr>
        <p:sp>
          <p:nvSpPr>
            <p:cNvPr id="505" name="Rectangle 263">
              <a:extLst>
                <a:ext uri="{FF2B5EF4-FFF2-40B4-BE49-F238E27FC236}">
                  <a16:creationId xmlns:a16="http://schemas.microsoft.com/office/drawing/2014/main" xmlns="" id="{30684052-A830-4012-BD09-F2AA4A6D3029}"/>
                </a:ext>
              </a:extLst>
            </p:cNvPr>
            <p:cNvSpPr>
              <a:spLocks noChangeArrowheads="1"/>
            </p:cNvSpPr>
            <p:nvPr/>
          </p:nvSpPr>
          <p:spPr bwMode="auto">
            <a:xfrm>
              <a:off x="7969726" y="6165000"/>
              <a:ext cx="54983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Flexibility</a:t>
              </a:r>
              <a:endParaRPr kumimoji="0" lang="fr-FR" altLang="fr-FR" sz="900" b="0" i="0" u="none" strike="noStrike" cap="none" normalizeH="0" baseline="0" dirty="0">
                <a:ln>
                  <a:noFill/>
                </a:ln>
                <a:solidFill>
                  <a:schemeClr val="tx1"/>
                </a:solidFill>
                <a:effectLst/>
                <a:latin typeface="+mj-lt"/>
              </a:endParaRPr>
            </a:p>
          </p:txBody>
        </p:sp>
        <p:sp>
          <p:nvSpPr>
            <p:cNvPr id="536" name="Rectangle 131">
              <a:extLst>
                <a:ext uri="{FF2B5EF4-FFF2-40B4-BE49-F238E27FC236}">
                  <a16:creationId xmlns:a16="http://schemas.microsoft.com/office/drawing/2014/main" xmlns="" id="{E8E8EFE0-D4BA-4F8F-9A19-B9FC656C71F7}"/>
                </a:ext>
              </a:extLst>
            </p:cNvPr>
            <p:cNvSpPr>
              <a:spLocks noChangeArrowheads="1"/>
            </p:cNvSpPr>
            <p:nvPr/>
          </p:nvSpPr>
          <p:spPr bwMode="auto">
            <a:xfrm>
              <a:off x="2469144" y="6165000"/>
              <a:ext cx="37830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a:ln>
                    <a:noFill/>
                  </a:ln>
                  <a:solidFill>
                    <a:srgbClr val="000000"/>
                  </a:solidFill>
                  <a:effectLst/>
                  <a:latin typeface="+mj-lt"/>
                </a:rPr>
                <a:t>Gravel</a:t>
              </a:r>
              <a:endParaRPr kumimoji="0" lang="fr-FR" altLang="fr-FR" sz="900" b="0" i="0" u="none" strike="noStrike" cap="none" normalizeH="0" baseline="0">
                <a:ln>
                  <a:noFill/>
                </a:ln>
                <a:solidFill>
                  <a:schemeClr val="tx1"/>
                </a:solidFill>
                <a:effectLst/>
                <a:latin typeface="+mj-lt"/>
              </a:endParaRPr>
            </a:p>
          </p:txBody>
        </p:sp>
        <p:sp>
          <p:nvSpPr>
            <p:cNvPr id="554" name="Rectangle 17">
              <a:extLst>
                <a:ext uri="{FF2B5EF4-FFF2-40B4-BE49-F238E27FC236}">
                  <a16:creationId xmlns:a16="http://schemas.microsoft.com/office/drawing/2014/main" xmlns="" id="{8FC34C4B-719F-43E4-AD95-2FDE194F4FF4}"/>
                </a:ext>
              </a:extLst>
            </p:cNvPr>
            <p:cNvSpPr>
              <a:spLocks noChangeArrowheads="1"/>
            </p:cNvSpPr>
            <p:nvPr/>
          </p:nvSpPr>
          <p:spPr bwMode="auto">
            <a:xfrm>
              <a:off x="7009865" y="6165000"/>
              <a:ext cx="57227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Capability</a:t>
              </a:r>
              <a:endParaRPr kumimoji="0" lang="fr-FR" altLang="fr-FR" sz="900" b="0" i="0" u="none" strike="noStrike" cap="none" normalizeH="0" baseline="0" dirty="0">
                <a:ln>
                  <a:noFill/>
                </a:ln>
                <a:solidFill>
                  <a:schemeClr val="tx1"/>
                </a:solidFill>
                <a:effectLst/>
                <a:latin typeface="+mj-lt"/>
              </a:endParaRPr>
            </a:p>
          </p:txBody>
        </p:sp>
        <p:sp>
          <p:nvSpPr>
            <p:cNvPr id="661" name="Rectangle 180">
              <a:extLst>
                <a:ext uri="{FF2B5EF4-FFF2-40B4-BE49-F238E27FC236}">
                  <a16:creationId xmlns:a16="http://schemas.microsoft.com/office/drawing/2014/main" xmlns="" id="{5C4087AB-DF84-492D-AD17-102ABE4EC7E2}"/>
                </a:ext>
              </a:extLst>
            </p:cNvPr>
            <p:cNvSpPr>
              <a:spLocks noChangeArrowheads="1"/>
            </p:cNvSpPr>
            <p:nvPr/>
          </p:nvSpPr>
          <p:spPr bwMode="auto">
            <a:xfrm>
              <a:off x="568934" y="6165000"/>
              <a:ext cx="42159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Danger</a:t>
              </a:r>
              <a:endParaRPr kumimoji="0" lang="fr-FR" altLang="fr-FR" sz="900" b="0" i="0" u="none" strike="noStrike" cap="none" normalizeH="0" baseline="0" dirty="0">
                <a:ln>
                  <a:noFill/>
                </a:ln>
                <a:solidFill>
                  <a:schemeClr val="tx1"/>
                </a:solidFill>
                <a:effectLst/>
                <a:latin typeface="+mj-lt"/>
              </a:endParaRPr>
            </a:p>
          </p:txBody>
        </p:sp>
        <p:sp>
          <p:nvSpPr>
            <p:cNvPr id="680" name="Rectangle 70">
              <a:extLst>
                <a:ext uri="{FF2B5EF4-FFF2-40B4-BE49-F238E27FC236}">
                  <a16:creationId xmlns:a16="http://schemas.microsoft.com/office/drawing/2014/main" xmlns="" id="{82D91AEE-E60F-49D6-9430-B5DA5B6DB571}"/>
                </a:ext>
              </a:extLst>
            </p:cNvPr>
            <p:cNvSpPr>
              <a:spLocks noChangeArrowheads="1"/>
            </p:cNvSpPr>
            <p:nvPr/>
          </p:nvSpPr>
          <p:spPr bwMode="auto">
            <a:xfrm>
              <a:off x="5248934" y="6165000"/>
              <a:ext cx="37510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Target</a:t>
              </a:r>
              <a:endParaRPr kumimoji="0" lang="fr-FR" altLang="fr-FR" sz="900" b="0" i="0" u="none" strike="noStrike" cap="none" normalizeH="0" baseline="0" dirty="0">
                <a:ln>
                  <a:noFill/>
                </a:ln>
                <a:solidFill>
                  <a:schemeClr val="tx1"/>
                </a:solidFill>
                <a:effectLst/>
                <a:latin typeface="+mj-lt"/>
              </a:endParaRPr>
            </a:p>
          </p:txBody>
        </p:sp>
        <p:sp>
          <p:nvSpPr>
            <p:cNvPr id="352" name="Rectangle 131">
              <a:extLst>
                <a:ext uri="{FF2B5EF4-FFF2-40B4-BE49-F238E27FC236}">
                  <a16:creationId xmlns:a16="http://schemas.microsoft.com/office/drawing/2014/main" xmlns="" id="{B353C015-F962-496D-A2B3-74D51CEAFA59}"/>
                </a:ext>
              </a:extLst>
            </p:cNvPr>
            <p:cNvSpPr>
              <a:spLocks noChangeArrowheads="1"/>
            </p:cNvSpPr>
            <p:nvPr/>
          </p:nvSpPr>
          <p:spPr bwMode="auto">
            <a:xfrm>
              <a:off x="3359347" y="6165000"/>
              <a:ext cx="40075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Search</a:t>
              </a:r>
              <a:endParaRPr kumimoji="0" lang="fr-FR" altLang="fr-FR" sz="900" b="0" i="0" u="none" strike="noStrike" cap="none" normalizeH="0" baseline="0" dirty="0">
                <a:ln>
                  <a:noFill/>
                </a:ln>
                <a:solidFill>
                  <a:schemeClr val="tx1"/>
                </a:solidFill>
                <a:effectLst/>
                <a:latin typeface="+mj-lt"/>
              </a:endParaRPr>
            </a:p>
          </p:txBody>
        </p:sp>
        <p:sp>
          <p:nvSpPr>
            <p:cNvPr id="614" name="Rectangle 263">
              <a:extLst>
                <a:ext uri="{FF2B5EF4-FFF2-40B4-BE49-F238E27FC236}">
                  <a16:creationId xmlns:a16="http://schemas.microsoft.com/office/drawing/2014/main" xmlns="" id="{EBD0E00A-B017-4FDA-94C6-0C658EAFCA73}"/>
                </a:ext>
              </a:extLst>
            </p:cNvPr>
            <p:cNvSpPr>
              <a:spLocks noChangeArrowheads="1"/>
            </p:cNvSpPr>
            <p:nvPr/>
          </p:nvSpPr>
          <p:spPr bwMode="auto">
            <a:xfrm>
              <a:off x="8987325" y="6165000"/>
              <a:ext cx="41357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err="1">
                  <a:ln>
                    <a:noFill/>
                  </a:ln>
                  <a:solidFill>
                    <a:srgbClr val="000000"/>
                  </a:solidFill>
                  <a:effectLst/>
                  <a:latin typeface="+mj-lt"/>
                </a:rPr>
                <a:t>Infinity</a:t>
              </a:r>
              <a:endParaRPr kumimoji="0" lang="fr-FR" altLang="fr-FR" sz="900" b="0" i="0" u="none" strike="noStrike" cap="none" normalizeH="0" baseline="0" dirty="0">
                <a:ln>
                  <a:noFill/>
                </a:ln>
                <a:solidFill>
                  <a:schemeClr val="tx1"/>
                </a:solidFill>
                <a:effectLst/>
                <a:latin typeface="+mj-lt"/>
              </a:endParaRPr>
            </a:p>
          </p:txBody>
        </p:sp>
        <p:sp>
          <p:nvSpPr>
            <p:cNvPr id="733" name="Rectangle 131">
              <a:extLst>
                <a:ext uri="{FF2B5EF4-FFF2-40B4-BE49-F238E27FC236}">
                  <a16:creationId xmlns:a16="http://schemas.microsoft.com/office/drawing/2014/main" xmlns="" id="{AC6227CB-DF3D-4DF5-AECC-6DF0DC3C3CE6}"/>
                </a:ext>
              </a:extLst>
            </p:cNvPr>
            <p:cNvSpPr>
              <a:spLocks noChangeArrowheads="1"/>
            </p:cNvSpPr>
            <p:nvPr/>
          </p:nvSpPr>
          <p:spPr bwMode="auto">
            <a:xfrm>
              <a:off x="4322403" y="6165000"/>
              <a:ext cx="33182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Zoom</a:t>
              </a:r>
              <a:endParaRPr kumimoji="0" lang="fr-FR" altLang="fr-FR" sz="900" b="0" i="0" u="none" strike="noStrike" cap="none" normalizeH="0" baseline="0" dirty="0">
                <a:ln>
                  <a:noFill/>
                </a:ln>
                <a:solidFill>
                  <a:schemeClr val="tx1"/>
                </a:solidFill>
                <a:effectLst/>
                <a:latin typeface="+mj-lt"/>
              </a:endParaRPr>
            </a:p>
          </p:txBody>
        </p:sp>
        <p:sp>
          <p:nvSpPr>
            <p:cNvPr id="800" name="Rectangle 263">
              <a:extLst>
                <a:ext uri="{FF2B5EF4-FFF2-40B4-BE49-F238E27FC236}">
                  <a16:creationId xmlns:a16="http://schemas.microsoft.com/office/drawing/2014/main" xmlns="" id="{63EB72DD-A083-4958-AE3C-1CA86DB431F0}"/>
                </a:ext>
              </a:extLst>
            </p:cNvPr>
            <p:cNvSpPr>
              <a:spLocks noChangeArrowheads="1"/>
            </p:cNvSpPr>
            <p:nvPr/>
          </p:nvSpPr>
          <p:spPr bwMode="auto">
            <a:xfrm>
              <a:off x="10028380" y="6165000"/>
              <a:ext cx="3654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900" b="0" i="0" u="none" strike="noStrike" cap="none" normalizeH="0" baseline="0" dirty="0">
                  <a:ln>
                    <a:noFill/>
                  </a:ln>
                  <a:solidFill>
                    <a:srgbClr val="000000"/>
                  </a:solidFill>
                  <a:effectLst/>
                  <a:latin typeface="+mj-lt"/>
                </a:rPr>
                <a:t>Puzzle</a:t>
              </a:r>
              <a:endParaRPr kumimoji="0" lang="fr-FR" altLang="fr-FR" sz="900" b="0" i="0" u="none" strike="noStrike" cap="none" normalizeH="0" baseline="0" dirty="0">
                <a:ln>
                  <a:noFill/>
                </a:ln>
                <a:solidFill>
                  <a:schemeClr val="tx1"/>
                </a:solidFill>
                <a:effectLst/>
                <a:latin typeface="+mj-lt"/>
              </a:endParaRPr>
            </a:p>
          </p:txBody>
        </p:sp>
      </p:grpSp>
      <p:grpSp>
        <p:nvGrpSpPr>
          <p:cNvPr id="428" name="Groupe 427">
            <a:extLst>
              <a:ext uri="{FF2B5EF4-FFF2-40B4-BE49-F238E27FC236}">
                <a16:creationId xmlns:a16="http://schemas.microsoft.com/office/drawing/2014/main" xmlns="" id="{AEDEC019-BAE7-4C1E-899D-8586D3C39D3A}"/>
              </a:ext>
            </a:extLst>
          </p:cNvPr>
          <p:cNvGrpSpPr>
            <a:grpSpLocks noChangeAspect="1"/>
          </p:cNvGrpSpPr>
          <p:nvPr/>
        </p:nvGrpSpPr>
        <p:grpSpPr>
          <a:xfrm>
            <a:off x="9798439" y="5311394"/>
            <a:ext cx="771330" cy="720000"/>
            <a:chOff x="2840281" y="-36418"/>
            <a:chExt cx="1642577" cy="1533268"/>
          </a:xfrm>
        </p:grpSpPr>
        <p:sp>
          <p:nvSpPr>
            <p:cNvPr id="480" name="Freeform 86">
              <a:extLst>
                <a:ext uri="{FF2B5EF4-FFF2-40B4-BE49-F238E27FC236}">
                  <a16:creationId xmlns:a16="http://schemas.microsoft.com/office/drawing/2014/main" xmlns="" id="{39F0E1EC-F672-4545-B308-EE4B1E6FCA45}"/>
                </a:ext>
              </a:extLst>
            </p:cNvPr>
            <p:cNvSpPr>
              <a:spLocks/>
            </p:cNvSpPr>
            <p:nvPr/>
          </p:nvSpPr>
          <p:spPr bwMode="auto">
            <a:xfrm>
              <a:off x="2840281" y="-36418"/>
              <a:ext cx="1642577" cy="1533268"/>
            </a:xfrm>
            <a:custGeom>
              <a:avLst/>
              <a:gdLst>
                <a:gd name="T0" fmla="*/ 34 w 235"/>
                <a:gd name="T1" fmla="*/ 172 h 219"/>
                <a:gd name="T2" fmla="*/ 56 w 235"/>
                <a:gd name="T3" fmla="*/ 33 h 219"/>
                <a:gd name="T4" fmla="*/ 201 w 235"/>
                <a:gd name="T5" fmla="*/ 53 h 219"/>
                <a:gd name="T6" fmla="*/ 175 w 235"/>
                <a:gd name="T7" fmla="*/ 187 h 219"/>
                <a:gd name="T8" fmla="*/ 34 w 235"/>
                <a:gd name="T9" fmla="*/ 172 h 219"/>
              </a:gdLst>
              <a:ahLst/>
              <a:cxnLst>
                <a:cxn ang="0">
                  <a:pos x="T0" y="T1"/>
                </a:cxn>
                <a:cxn ang="0">
                  <a:pos x="T2" y="T3"/>
                </a:cxn>
                <a:cxn ang="0">
                  <a:pos x="T4" y="T5"/>
                </a:cxn>
                <a:cxn ang="0">
                  <a:pos x="T6" y="T7"/>
                </a:cxn>
                <a:cxn ang="0">
                  <a:pos x="T8" y="T9"/>
                </a:cxn>
              </a:cxnLst>
              <a:rect l="0" t="0" r="r" b="b"/>
              <a:pathLst>
                <a:path w="235" h="219">
                  <a:moveTo>
                    <a:pt x="34" y="172"/>
                  </a:moveTo>
                  <a:cubicBezTo>
                    <a:pt x="0" y="128"/>
                    <a:pt x="10" y="66"/>
                    <a:pt x="56" y="33"/>
                  </a:cubicBezTo>
                  <a:cubicBezTo>
                    <a:pt x="102" y="0"/>
                    <a:pt x="167" y="9"/>
                    <a:pt x="201" y="53"/>
                  </a:cubicBezTo>
                  <a:cubicBezTo>
                    <a:pt x="235" y="97"/>
                    <a:pt x="221" y="154"/>
                    <a:pt x="175" y="187"/>
                  </a:cubicBezTo>
                  <a:cubicBezTo>
                    <a:pt x="128" y="219"/>
                    <a:pt x="67" y="216"/>
                    <a:pt x="34" y="172"/>
                  </a:cubicBezTo>
                </a:path>
              </a:pathLst>
            </a:custGeom>
            <a:solidFill>
              <a:srgbClr val="7E39BA"/>
            </a:solidFill>
            <a:ln>
              <a:noFill/>
            </a:ln>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483" name="Groupe 482">
              <a:extLst>
                <a:ext uri="{FF2B5EF4-FFF2-40B4-BE49-F238E27FC236}">
                  <a16:creationId xmlns:a16="http://schemas.microsoft.com/office/drawing/2014/main" xmlns="" id="{29ECEA1A-E722-4EE0-852D-7380F7C3CA3C}"/>
                </a:ext>
              </a:extLst>
            </p:cNvPr>
            <p:cNvGrpSpPr>
              <a:grpSpLocks noChangeAspect="1"/>
            </p:cNvGrpSpPr>
            <p:nvPr/>
          </p:nvGrpSpPr>
          <p:grpSpPr>
            <a:xfrm rot="20004553">
              <a:off x="3093895" y="508290"/>
              <a:ext cx="1058074" cy="520061"/>
              <a:chOff x="3361563" y="660166"/>
              <a:chExt cx="471356" cy="231679"/>
            </a:xfrm>
          </p:grpSpPr>
          <p:sp>
            <p:nvSpPr>
              <p:cNvPr id="496" name="Freeform 87">
                <a:extLst>
                  <a:ext uri="{FF2B5EF4-FFF2-40B4-BE49-F238E27FC236}">
                    <a16:creationId xmlns:a16="http://schemas.microsoft.com/office/drawing/2014/main" xmlns="" id="{2F80E053-885F-4769-9198-A50F62090F92}"/>
                  </a:ext>
                </a:extLst>
              </p:cNvPr>
              <p:cNvSpPr>
                <a:spLocks/>
              </p:cNvSpPr>
              <p:nvPr/>
            </p:nvSpPr>
            <p:spPr bwMode="auto">
              <a:xfrm>
                <a:off x="3611347" y="660166"/>
                <a:ext cx="221572" cy="224525"/>
              </a:xfrm>
              <a:custGeom>
                <a:avLst/>
                <a:gdLst>
                  <a:gd name="T0" fmla="*/ 27 w 32"/>
                  <a:gd name="T1" fmla="*/ 15 h 32"/>
                  <a:gd name="T2" fmla="*/ 29 w 32"/>
                  <a:gd name="T3" fmla="*/ 16 h 32"/>
                  <a:gd name="T4" fmla="*/ 31 w 32"/>
                  <a:gd name="T5" fmla="*/ 17 h 32"/>
                  <a:gd name="T6" fmla="*/ 32 w 32"/>
                  <a:gd name="T7" fmla="*/ 15 h 32"/>
                  <a:gd name="T8" fmla="*/ 32 w 32"/>
                  <a:gd name="T9" fmla="*/ 10 h 32"/>
                  <a:gd name="T10" fmla="*/ 30 w 32"/>
                  <a:gd name="T11" fmla="*/ 9 h 32"/>
                  <a:gd name="T12" fmla="*/ 24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7 w 32"/>
                  <a:gd name="T25" fmla="*/ 4 h 32"/>
                  <a:gd name="T26" fmla="*/ 17 w 32"/>
                  <a:gd name="T27" fmla="*/ 6 h 32"/>
                  <a:gd name="T28" fmla="*/ 19 w 32"/>
                  <a:gd name="T29" fmla="*/ 7 h 32"/>
                  <a:gd name="T30" fmla="*/ 17 w 32"/>
                  <a:gd name="T31" fmla="*/ 9 h 32"/>
                  <a:gd name="T32" fmla="*/ 10 w 32"/>
                  <a:gd name="T33" fmla="*/ 9 h 32"/>
                  <a:gd name="T34" fmla="*/ 9 w 32"/>
                  <a:gd name="T35" fmla="*/ 10 h 32"/>
                  <a:gd name="T36" fmla="*/ 9 w 32"/>
                  <a:gd name="T37" fmla="*/ 16 h 32"/>
                  <a:gd name="T38" fmla="*/ 8 w 32"/>
                  <a:gd name="T39" fmla="*/ 17 h 32"/>
                  <a:gd name="T40" fmla="*/ 6 w 32"/>
                  <a:gd name="T41" fmla="*/ 16 h 32"/>
                  <a:gd name="T42" fmla="*/ 4 w 32"/>
                  <a:gd name="T43" fmla="*/ 15 h 32"/>
                  <a:gd name="T44" fmla="*/ 0 w 32"/>
                  <a:gd name="T45" fmla="*/ 19 h 32"/>
                  <a:gd name="T46" fmla="*/ 4 w 32"/>
                  <a:gd name="T47" fmla="*/ 22 h 32"/>
                  <a:gd name="T48" fmla="*/ 6 w 32"/>
                  <a:gd name="T49" fmla="*/ 22 h 32"/>
                  <a:gd name="T50" fmla="*/ 8 w 32"/>
                  <a:gd name="T51" fmla="*/ 20 h 32"/>
                  <a:gd name="T52" fmla="*/ 9 w 32"/>
                  <a:gd name="T53" fmla="*/ 22 h 32"/>
                  <a:gd name="T54" fmla="*/ 9 w 32"/>
                  <a:gd name="T55" fmla="*/ 31 h 32"/>
                  <a:gd name="T56" fmla="*/ 10 w 32"/>
                  <a:gd name="T57" fmla="*/ 32 h 32"/>
                  <a:gd name="T58" fmla="*/ 17 w 32"/>
                  <a:gd name="T59" fmla="*/ 32 h 32"/>
                  <a:gd name="T60" fmla="*/ 19 w 32"/>
                  <a:gd name="T61" fmla="*/ 31 h 32"/>
                  <a:gd name="T62" fmla="*/ 17 w 32"/>
                  <a:gd name="T63" fmla="*/ 29 h 32"/>
                  <a:gd name="T64" fmla="*/ 17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4 w 32"/>
                  <a:gd name="T77" fmla="*/ 32 h 32"/>
                  <a:gd name="T78" fmla="*/ 30 w 32"/>
                  <a:gd name="T79" fmla="*/ 32 h 32"/>
                  <a:gd name="T80" fmla="*/ 32 w 32"/>
                  <a:gd name="T81" fmla="*/ 31 h 32"/>
                  <a:gd name="T82" fmla="*/ 32 w 32"/>
                  <a:gd name="T83" fmla="*/ 22 h 32"/>
                  <a:gd name="T84" fmla="*/ 31 w 32"/>
                  <a:gd name="T85" fmla="*/ 20 h 32"/>
                  <a:gd name="T86" fmla="*/ 29 w 32"/>
                  <a:gd name="T87" fmla="*/ 22 h 32"/>
                  <a:gd name="T88" fmla="*/ 27 w 32"/>
                  <a:gd name="T89" fmla="*/ 22 h 32"/>
                  <a:gd name="T90" fmla="*/ 23 w 32"/>
                  <a:gd name="T91" fmla="*/ 19 h 32"/>
                  <a:gd name="T92" fmla="*/ 27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7" y="15"/>
                    </a:moveTo>
                    <a:cubicBezTo>
                      <a:pt x="28" y="15"/>
                      <a:pt x="29" y="16"/>
                      <a:pt x="29" y="16"/>
                    </a:cubicBezTo>
                    <a:cubicBezTo>
                      <a:pt x="29" y="16"/>
                      <a:pt x="30" y="17"/>
                      <a:pt x="31" y="17"/>
                    </a:cubicBezTo>
                    <a:cubicBezTo>
                      <a:pt x="31" y="17"/>
                      <a:pt x="32" y="16"/>
                      <a:pt x="32" y="15"/>
                    </a:cubicBezTo>
                    <a:cubicBezTo>
                      <a:pt x="32" y="10"/>
                      <a:pt x="32" y="10"/>
                      <a:pt x="32" y="10"/>
                    </a:cubicBezTo>
                    <a:cubicBezTo>
                      <a:pt x="32" y="9"/>
                      <a:pt x="31" y="9"/>
                      <a:pt x="30" y="9"/>
                    </a:cubicBezTo>
                    <a:cubicBezTo>
                      <a:pt x="24" y="9"/>
                      <a:pt x="24" y="9"/>
                      <a:pt x="24" y="9"/>
                    </a:cubicBezTo>
                    <a:cubicBezTo>
                      <a:pt x="23" y="9"/>
                      <a:pt x="22" y="8"/>
                      <a:pt x="22" y="8"/>
                    </a:cubicBezTo>
                    <a:cubicBezTo>
                      <a:pt x="22" y="8"/>
                      <a:pt x="23" y="6"/>
                      <a:pt x="23" y="6"/>
                    </a:cubicBezTo>
                    <a:cubicBezTo>
                      <a:pt x="23" y="6"/>
                      <a:pt x="24" y="5"/>
                      <a:pt x="24" y="4"/>
                    </a:cubicBezTo>
                    <a:cubicBezTo>
                      <a:pt x="24" y="1"/>
                      <a:pt x="22" y="0"/>
                      <a:pt x="20" y="0"/>
                    </a:cubicBezTo>
                    <a:cubicBezTo>
                      <a:pt x="20" y="0"/>
                      <a:pt x="20" y="0"/>
                      <a:pt x="20" y="0"/>
                    </a:cubicBezTo>
                    <a:cubicBezTo>
                      <a:pt x="18" y="0"/>
                      <a:pt x="17" y="2"/>
                      <a:pt x="17" y="4"/>
                    </a:cubicBezTo>
                    <a:cubicBezTo>
                      <a:pt x="17" y="5"/>
                      <a:pt x="17" y="6"/>
                      <a:pt x="17" y="6"/>
                    </a:cubicBezTo>
                    <a:cubicBezTo>
                      <a:pt x="18" y="6"/>
                      <a:pt x="18" y="7"/>
                      <a:pt x="19" y="7"/>
                    </a:cubicBezTo>
                    <a:cubicBezTo>
                      <a:pt x="19" y="8"/>
                      <a:pt x="18" y="9"/>
                      <a:pt x="17" y="9"/>
                    </a:cubicBezTo>
                    <a:cubicBezTo>
                      <a:pt x="10" y="9"/>
                      <a:pt x="10" y="9"/>
                      <a:pt x="10" y="9"/>
                    </a:cubicBezTo>
                    <a:cubicBezTo>
                      <a:pt x="9" y="9"/>
                      <a:pt x="9" y="9"/>
                      <a:pt x="9" y="10"/>
                    </a:cubicBezTo>
                    <a:cubicBezTo>
                      <a:pt x="9" y="16"/>
                      <a:pt x="9" y="16"/>
                      <a:pt x="9" y="16"/>
                    </a:cubicBezTo>
                    <a:cubicBezTo>
                      <a:pt x="9" y="16"/>
                      <a:pt x="8" y="17"/>
                      <a:pt x="8" y="17"/>
                    </a:cubicBezTo>
                    <a:cubicBezTo>
                      <a:pt x="8" y="17"/>
                      <a:pt x="7" y="16"/>
                      <a:pt x="6" y="16"/>
                    </a:cubicBezTo>
                    <a:cubicBezTo>
                      <a:pt x="6" y="16"/>
                      <a:pt x="5" y="15"/>
                      <a:pt x="4" y="15"/>
                    </a:cubicBezTo>
                    <a:cubicBezTo>
                      <a:pt x="2" y="15"/>
                      <a:pt x="0" y="17"/>
                      <a:pt x="0" y="19"/>
                    </a:cubicBezTo>
                    <a:cubicBezTo>
                      <a:pt x="0" y="21"/>
                      <a:pt x="2" y="22"/>
                      <a:pt x="4" y="22"/>
                    </a:cubicBezTo>
                    <a:cubicBezTo>
                      <a:pt x="5" y="22"/>
                      <a:pt x="6" y="22"/>
                      <a:pt x="6" y="22"/>
                    </a:cubicBezTo>
                    <a:cubicBezTo>
                      <a:pt x="7" y="21"/>
                      <a:pt x="7" y="21"/>
                      <a:pt x="8" y="20"/>
                    </a:cubicBezTo>
                    <a:cubicBezTo>
                      <a:pt x="8" y="20"/>
                      <a:pt x="9" y="21"/>
                      <a:pt x="9" y="22"/>
                    </a:cubicBezTo>
                    <a:cubicBezTo>
                      <a:pt x="9" y="31"/>
                      <a:pt x="9" y="31"/>
                      <a:pt x="9" y="31"/>
                    </a:cubicBezTo>
                    <a:cubicBezTo>
                      <a:pt x="9" y="31"/>
                      <a:pt x="9" y="32"/>
                      <a:pt x="10" y="32"/>
                    </a:cubicBezTo>
                    <a:cubicBezTo>
                      <a:pt x="17" y="32"/>
                      <a:pt x="17" y="32"/>
                      <a:pt x="17" y="32"/>
                    </a:cubicBezTo>
                    <a:cubicBezTo>
                      <a:pt x="18" y="32"/>
                      <a:pt x="18" y="32"/>
                      <a:pt x="19" y="31"/>
                    </a:cubicBezTo>
                    <a:cubicBezTo>
                      <a:pt x="19" y="31"/>
                      <a:pt x="18" y="30"/>
                      <a:pt x="17" y="29"/>
                    </a:cubicBezTo>
                    <a:cubicBezTo>
                      <a:pt x="17" y="29"/>
                      <a:pt x="17" y="28"/>
                      <a:pt x="17" y="27"/>
                    </a:cubicBezTo>
                    <a:cubicBezTo>
                      <a:pt x="17" y="25"/>
                      <a:pt x="18" y="23"/>
                      <a:pt x="20" y="23"/>
                    </a:cubicBezTo>
                    <a:cubicBezTo>
                      <a:pt x="20" y="23"/>
                      <a:pt x="20" y="23"/>
                      <a:pt x="20" y="23"/>
                    </a:cubicBezTo>
                    <a:cubicBezTo>
                      <a:pt x="22" y="23"/>
                      <a:pt x="24" y="25"/>
                      <a:pt x="24" y="27"/>
                    </a:cubicBezTo>
                    <a:cubicBezTo>
                      <a:pt x="24" y="28"/>
                      <a:pt x="23" y="29"/>
                      <a:pt x="23" y="29"/>
                    </a:cubicBezTo>
                    <a:cubicBezTo>
                      <a:pt x="23" y="30"/>
                      <a:pt x="22" y="30"/>
                      <a:pt x="22" y="31"/>
                    </a:cubicBezTo>
                    <a:cubicBezTo>
                      <a:pt x="22" y="31"/>
                      <a:pt x="23" y="32"/>
                      <a:pt x="24" y="32"/>
                    </a:cubicBezTo>
                    <a:cubicBezTo>
                      <a:pt x="30" y="32"/>
                      <a:pt x="30" y="32"/>
                      <a:pt x="30" y="32"/>
                    </a:cubicBezTo>
                    <a:cubicBezTo>
                      <a:pt x="31" y="32"/>
                      <a:pt x="32" y="31"/>
                      <a:pt x="32" y="31"/>
                    </a:cubicBezTo>
                    <a:cubicBezTo>
                      <a:pt x="32" y="22"/>
                      <a:pt x="32" y="22"/>
                      <a:pt x="32" y="22"/>
                    </a:cubicBezTo>
                    <a:cubicBezTo>
                      <a:pt x="32" y="21"/>
                      <a:pt x="32" y="21"/>
                      <a:pt x="31" y="20"/>
                    </a:cubicBezTo>
                    <a:cubicBezTo>
                      <a:pt x="31" y="20"/>
                      <a:pt x="29" y="21"/>
                      <a:pt x="29" y="22"/>
                    </a:cubicBezTo>
                    <a:cubicBezTo>
                      <a:pt x="29" y="22"/>
                      <a:pt x="28" y="22"/>
                      <a:pt x="27" y="22"/>
                    </a:cubicBezTo>
                    <a:cubicBezTo>
                      <a:pt x="25" y="22"/>
                      <a:pt x="23" y="21"/>
                      <a:pt x="23" y="19"/>
                    </a:cubicBezTo>
                    <a:cubicBezTo>
                      <a:pt x="23" y="17"/>
                      <a:pt x="25" y="15"/>
                      <a:pt x="27" y="15"/>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497" name="Freeform 91">
                <a:extLst>
                  <a:ext uri="{FF2B5EF4-FFF2-40B4-BE49-F238E27FC236}">
                    <a16:creationId xmlns:a16="http://schemas.microsoft.com/office/drawing/2014/main" xmlns="" id="{D60D5631-6376-4D88-AA68-81670BC7A081}"/>
                  </a:ext>
                </a:extLst>
              </p:cNvPr>
              <p:cNvSpPr>
                <a:spLocks/>
              </p:cNvSpPr>
              <p:nvPr/>
            </p:nvSpPr>
            <p:spPr bwMode="auto">
              <a:xfrm>
                <a:off x="3361563" y="667320"/>
                <a:ext cx="221572" cy="224525"/>
              </a:xfrm>
              <a:custGeom>
                <a:avLst/>
                <a:gdLst>
                  <a:gd name="T0" fmla="*/ 26 w 32"/>
                  <a:gd name="T1" fmla="*/ 15 h 32"/>
                  <a:gd name="T2" fmla="*/ 28 w 32"/>
                  <a:gd name="T3" fmla="*/ 16 h 32"/>
                  <a:gd name="T4" fmla="*/ 30 w 32"/>
                  <a:gd name="T5" fmla="*/ 17 h 32"/>
                  <a:gd name="T6" fmla="*/ 32 w 32"/>
                  <a:gd name="T7" fmla="*/ 15 h 32"/>
                  <a:gd name="T8" fmla="*/ 32 w 32"/>
                  <a:gd name="T9" fmla="*/ 10 h 32"/>
                  <a:gd name="T10" fmla="*/ 30 w 32"/>
                  <a:gd name="T11" fmla="*/ 9 h 32"/>
                  <a:gd name="T12" fmla="*/ 23 w 32"/>
                  <a:gd name="T13" fmla="*/ 9 h 32"/>
                  <a:gd name="T14" fmla="*/ 22 w 32"/>
                  <a:gd name="T15" fmla="*/ 8 h 32"/>
                  <a:gd name="T16" fmla="*/ 23 w 32"/>
                  <a:gd name="T17" fmla="*/ 6 h 32"/>
                  <a:gd name="T18" fmla="*/ 24 w 32"/>
                  <a:gd name="T19" fmla="*/ 4 h 32"/>
                  <a:gd name="T20" fmla="*/ 20 w 32"/>
                  <a:gd name="T21" fmla="*/ 0 h 32"/>
                  <a:gd name="T22" fmla="*/ 20 w 32"/>
                  <a:gd name="T23" fmla="*/ 0 h 32"/>
                  <a:gd name="T24" fmla="*/ 16 w 32"/>
                  <a:gd name="T25" fmla="*/ 4 h 32"/>
                  <a:gd name="T26" fmla="*/ 17 w 32"/>
                  <a:gd name="T27" fmla="*/ 6 h 32"/>
                  <a:gd name="T28" fmla="*/ 18 w 32"/>
                  <a:gd name="T29" fmla="*/ 7 h 32"/>
                  <a:gd name="T30" fmla="*/ 17 w 32"/>
                  <a:gd name="T31" fmla="*/ 9 h 32"/>
                  <a:gd name="T32" fmla="*/ 10 w 32"/>
                  <a:gd name="T33" fmla="*/ 9 h 32"/>
                  <a:gd name="T34" fmla="*/ 8 w 32"/>
                  <a:gd name="T35" fmla="*/ 10 h 32"/>
                  <a:gd name="T36" fmla="*/ 8 w 32"/>
                  <a:gd name="T37" fmla="*/ 16 h 32"/>
                  <a:gd name="T38" fmla="*/ 8 w 32"/>
                  <a:gd name="T39" fmla="*/ 17 h 32"/>
                  <a:gd name="T40" fmla="*/ 6 w 32"/>
                  <a:gd name="T41" fmla="*/ 16 h 32"/>
                  <a:gd name="T42" fmla="*/ 3 w 32"/>
                  <a:gd name="T43" fmla="*/ 15 h 32"/>
                  <a:gd name="T44" fmla="*/ 0 w 32"/>
                  <a:gd name="T45" fmla="*/ 19 h 32"/>
                  <a:gd name="T46" fmla="*/ 3 w 32"/>
                  <a:gd name="T47" fmla="*/ 22 h 32"/>
                  <a:gd name="T48" fmla="*/ 6 w 32"/>
                  <a:gd name="T49" fmla="*/ 22 h 32"/>
                  <a:gd name="T50" fmla="*/ 7 w 32"/>
                  <a:gd name="T51" fmla="*/ 20 h 32"/>
                  <a:gd name="T52" fmla="*/ 8 w 32"/>
                  <a:gd name="T53" fmla="*/ 22 h 32"/>
                  <a:gd name="T54" fmla="*/ 8 w 32"/>
                  <a:gd name="T55" fmla="*/ 31 h 32"/>
                  <a:gd name="T56" fmla="*/ 10 w 32"/>
                  <a:gd name="T57" fmla="*/ 32 h 32"/>
                  <a:gd name="T58" fmla="*/ 17 w 32"/>
                  <a:gd name="T59" fmla="*/ 32 h 32"/>
                  <a:gd name="T60" fmla="*/ 18 w 32"/>
                  <a:gd name="T61" fmla="*/ 31 h 32"/>
                  <a:gd name="T62" fmla="*/ 17 w 32"/>
                  <a:gd name="T63" fmla="*/ 29 h 32"/>
                  <a:gd name="T64" fmla="*/ 16 w 32"/>
                  <a:gd name="T65" fmla="*/ 27 h 32"/>
                  <a:gd name="T66" fmla="*/ 20 w 32"/>
                  <a:gd name="T67" fmla="*/ 23 h 32"/>
                  <a:gd name="T68" fmla="*/ 20 w 32"/>
                  <a:gd name="T69" fmla="*/ 23 h 32"/>
                  <a:gd name="T70" fmla="*/ 24 w 32"/>
                  <a:gd name="T71" fmla="*/ 27 h 32"/>
                  <a:gd name="T72" fmla="*/ 23 w 32"/>
                  <a:gd name="T73" fmla="*/ 29 h 32"/>
                  <a:gd name="T74" fmla="*/ 22 w 32"/>
                  <a:gd name="T75" fmla="*/ 31 h 32"/>
                  <a:gd name="T76" fmla="*/ 23 w 32"/>
                  <a:gd name="T77" fmla="*/ 32 h 32"/>
                  <a:gd name="T78" fmla="*/ 30 w 32"/>
                  <a:gd name="T79" fmla="*/ 32 h 32"/>
                  <a:gd name="T80" fmla="*/ 32 w 32"/>
                  <a:gd name="T81" fmla="*/ 31 h 32"/>
                  <a:gd name="T82" fmla="*/ 32 w 32"/>
                  <a:gd name="T83" fmla="*/ 22 h 32"/>
                  <a:gd name="T84" fmla="*/ 31 w 32"/>
                  <a:gd name="T85" fmla="*/ 20 h 32"/>
                  <a:gd name="T86" fmla="*/ 28 w 32"/>
                  <a:gd name="T87" fmla="*/ 22 h 32"/>
                  <a:gd name="T88" fmla="*/ 26 w 32"/>
                  <a:gd name="T89" fmla="*/ 22 h 32"/>
                  <a:gd name="T90" fmla="*/ 23 w 32"/>
                  <a:gd name="T91" fmla="*/ 19 h 32"/>
                  <a:gd name="T92" fmla="*/ 26 w 32"/>
                  <a:gd name="T9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 h="32">
                    <a:moveTo>
                      <a:pt x="26" y="15"/>
                    </a:moveTo>
                    <a:cubicBezTo>
                      <a:pt x="28" y="15"/>
                      <a:pt x="28" y="16"/>
                      <a:pt x="28" y="16"/>
                    </a:cubicBezTo>
                    <a:cubicBezTo>
                      <a:pt x="29" y="16"/>
                      <a:pt x="30" y="17"/>
                      <a:pt x="30" y="17"/>
                    </a:cubicBezTo>
                    <a:cubicBezTo>
                      <a:pt x="31" y="17"/>
                      <a:pt x="32" y="16"/>
                      <a:pt x="32" y="15"/>
                    </a:cubicBezTo>
                    <a:cubicBezTo>
                      <a:pt x="32" y="10"/>
                      <a:pt x="32" y="10"/>
                      <a:pt x="32" y="10"/>
                    </a:cubicBezTo>
                    <a:cubicBezTo>
                      <a:pt x="32" y="9"/>
                      <a:pt x="31" y="9"/>
                      <a:pt x="30" y="9"/>
                    </a:cubicBezTo>
                    <a:cubicBezTo>
                      <a:pt x="23" y="9"/>
                      <a:pt x="23" y="9"/>
                      <a:pt x="23" y="9"/>
                    </a:cubicBezTo>
                    <a:cubicBezTo>
                      <a:pt x="23" y="9"/>
                      <a:pt x="22" y="8"/>
                      <a:pt x="22" y="8"/>
                    </a:cubicBezTo>
                    <a:cubicBezTo>
                      <a:pt x="21" y="8"/>
                      <a:pt x="22" y="6"/>
                      <a:pt x="23" y="6"/>
                    </a:cubicBezTo>
                    <a:cubicBezTo>
                      <a:pt x="23" y="6"/>
                      <a:pt x="24" y="5"/>
                      <a:pt x="24" y="4"/>
                    </a:cubicBezTo>
                    <a:cubicBezTo>
                      <a:pt x="24" y="1"/>
                      <a:pt x="22" y="0"/>
                      <a:pt x="20" y="0"/>
                    </a:cubicBezTo>
                    <a:cubicBezTo>
                      <a:pt x="20" y="0"/>
                      <a:pt x="20" y="0"/>
                      <a:pt x="20" y="0"/>
                    </a:cubicBezTo>
                    <a:cubicBezTo>
                      <a:pt x="18" y="0"/>
                      <a:pt x="16" y="1"/>
                      <a:pt x="16" y="4"/>
                    </a:cubicBezTo>
                    <a:cubicBezTo>
                      <a:pt x="16" y="5"/>
                      <a:pt x="17" y="6"/>
                      <a:pt x="17" y="6"/>
                    </a:cubicBezTo>
                    <a:cubicBezTo>
                      <a:pt x="18" y="6"/>
                      <a:pt x="18" y="7"/>
                      <a:pt x="18" y="7"/>
                    </a:cubicBezTo>
                    <a:cubicBezTo>
                      <a:pt x="18" y="8"/>
                      <a:pt x="17" y="9"/>
                      <a:pt x="17" y="9"/>
                    </a:cubicBezTo>
                    <a:cubicBezTo>
                      <a:pt x="10" y="9"/>
                      <a:pt x="10" y="9"/>
                      <a:pt x="10" y="9"/>
                    </a:cubicBezTo>
                    <a:cubicBezTo>
                      <a:pt x="9" y="9"/>
                      <a:pt x="8" y="9"/>
                      <a:pt x="8" y="10"/>
                    </a:cubicBezTo>
                    <a:cubicBezTo>
                      <a:pt x="8" y="16"/>
                      <a:pt x="8" y="16"/>
                      <a:pt x="8" y="16"/>
                    </a:cubicBezTo>
                    <a:cubicBezTo>
                      <a:pt x="8" y="16"/>
                      <a:pt x="8" y="17"/>
                      <a:pt x="8" y="17"/>
                    </a:cubicBezTo>
                    <a:cubicBezTo>
                      <a:pt x="7" y="17"/>
                      <a:pt x="6" y="16"/>
                      <a:pt x="6" y="16"/>
                    </a:cubicBezTo>
                    <a:cubicBezTo>
                      <a:pt x="6" y="16"/>
                      <a:pt x="5" y="15"/>
                      <a:pt x="3" y="15"/>
                    </a:cubicBezTo>
                    <a:cubicBezTo>
                      <a:pt x="1" y="15"/>
                      <a:pt x="0" y="17"/>
                      <a:pt x="0" y="19"/>
                    </a:cubicBezTo>
                    <a:cubicBezTo>
                      <a:pt x="0" y="21"/>
                      <a:pt x="1" y="22"/>
                      <a:pt x="3" y="22"/>
                    </a:cubicBezTo>
                    <a:cubicBezTo>
                      <a:pt x="5" y="22"/>
                      <a:pt x="6" y="22"/>
                      <a:pt x="6" y="22"/>
                    </a:cubicBezTo>
                    <a:cubicBezTo>
                      <a:pt x="6" y="21"/>
                      <a:pt x="7" y="21"/>
                      <a:pt x="7" y="20"/>
                    </a:cubicBezTo>
                    <a:cubicBezTo>
                      <a:pt x="7" y="20"/>
                      <a:pt x="8" y="21"/>
                      <a:pt x="8" y="22"/>
                    </a:cubicBezTo>
                    <a:cubicBezTo>
                      <a:pt x="8" y="31"/>
                      <a:pt x="8" y="31"/>
                      <a:pt x="8" y="31"/>
                    </a:cubicBezTo>
                    <a:cubicBezTo>
                      <a:pt x="8" y="31"/>
                      <a:pt x="9" y="32"/>
                      <a:pt x="10" y="32"/>
                    </a:cubicBezTo>
                    <a:cubicBezTo>
                      <a:pt x="17" y="32"/>
                      <a:pt x="17" y="32"/>
                      <a:pt x="17" y="32"/>
                    </a:cubicBezTo>
                    <a:cubicBezTo>
                      <a:pt x="17" y="32"/>
                      <a:pt x="18" y="32"/>
                      <a:pt x="18" y="31"/>
                    </a:cubicBezTo>
                    <a:cubicBezTo>
                      <a:pt x="18" y="31"/>
                      <a:pt x="18" y="30"/>
                      <a:pt x="17" y="29"/>
                    </a:cubicBezTo>
                    <a:cubicBezTo>
                      <a:pt x="17" y="29"/>
                      <a:pt x="16" y="28"/>
                      <a:pt x="16" y="27"/>
                    </a:cubicBezTo>
                    <a:cubicBezTo>
                      <a:pt x="16" y="25"/>
                      <a:pt x="18" y="23"/>
                      <a:pt x="20" y="23"/>
                    </a:cubicBezTo>
                    <a:cubicBezTo>
                      <a:pt x="20" y="23"/>
                      <a:pt x="20" y="23"/>
                      <a:pt x="20" y="23"/>
                    </a:cubicBezTo>
                    <a:cubicBezTo>
                      <a:pt x="22" y="23"/>
                      <a:pt x="24" y="25"/>
                      <a:pt x="24" y="27"/>
                    </a:cubicBezTo>
                    <a:cubicBezTo>
                      <a:pt x="24" y="28"/>
                      <a:pt x="23" y="29"/>
                      <a:pt x="23" y="29"/>
                    </a:cubicBezTo>
                    <a:cubicBezTo>
                      <a:pt x="22" y="30"/>
                      <a:pt x="22" y="30"/>
                      <a:pt x="22" y="31"/>
                    </a:cubicBezTo>
                    <a:cubicBezTo>
                      <a:pt x="21" y="31"/>
                      <a:pt x="23" y="32"/>
                      <a:pt x="23" y="32"/>
                    </a:cubicBezTo>
                    <a:cubicBezTo>
                      <a:pt x="30" y="32"/>
                      <a:pt x="30" y="32"/>
                      <a:pt x="30" y="32"/>
                    </a:cubicBezTo>
                    <a:cubicBezTo>
                      <a:pt x="31" y="32"/>
                      <a:pt x="32" y="31"/>
                      <a:pt x="32" y="31"/>
                    </a:cubicBezTo>
                    <a:cubicBezTo>
                      <a:pt x="32" y="22"/>
                      <a:pt x="32" y="22"/>
                      <a:pt x="32" y="22"/>
                    </a:cubicBezTo>
                    <a:cubicBezTo>
                      <a:pt x="32" y="21"/>
                      <a:pt x="31" y="21"/>
                      <a:pt x="31" y="20"/>
                    </a:cubicBezTo>
                    <a:cubicBezTo>
                      <a:pt x="30" y="20"/>
                      <a:pt x="29" y="21"/>
                      <a:pt x="28" y="22"/>
                    </a:cubicBezTo>
                    <a:cubicBezTo>
                      <a:pt x="28" y="22"/>
                      <a:pt x="28" y="22"/>
                      <a:pt x="26" y="22"/>
                    </a:cubicBezTo>
                    <a:cubicBezTo>
                      <a:pt x="24" y="22"/>
                      <a:pt x="23" y="21"/>
                      <a:pt x="23" y="19"/>
                    </a:cubicBezTo>
                    <a:cubicBezTo>
                      <a:pt x="23" y="17"/>
                      <a:pt x="24" y="15"/>
                      <a:pt x="26" y="15"/>
                    </a:cubicBezTo>
                    <a:close/>
                  </a:path>
                </a:pathLst>
              </a:custGeom>
              <a:solidFill>
                <a:srgbClr val="EA6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grpSp>
        <p:nvGrpSpPr>
          <p:cNvPr id="3" name="Groupe 2">
            <a:extLst>
              <a:ext uri="{FF2B5EF4-FFF2-40B4-BE49-F238E27FC236}">
                <a16:creationId xmlns:a16="http://schemas.microsoft.com/office/drawing/2014/main" xmlns="" id="{F826B619-60E8-4539-BBBC-EEBAB6E334A1}"/>
              </a:ext>
            </a:extLst>
          </p:cNvPr>
          <p:cNvGrpSpPr>
            <a:grpSpLocks noChangeAspect="1"/>
          </p:cNvGrpSpPr>
          <p:nvPr/>
        </p:nvGrpSpPr>
        <p:grpSpPr>
          <a:xfrm>
            <a:off x="10661020" y="5335565"/>
            <a:ext cx="765456" cy="720000"/>
            <a:chOff x="8569828" y="5273"/>
            <a:chExt cx="914547" cy="860237"/>
          </a:xfrm>
        </p:grpSpPr>
        <p:sp>
          <p:nvSpPr>
            <p:cNvPr id="508" name="Freeform 209">
              <a:extLst>
                <a:ext uri="{FF2B5EF4-FFF2-40B4-BE49-F238E27FC236}">
                  <a16:creationId xmlns:a16="http://schemas.microsoft.com/office/drawing/2014/main" xmlns="" id="{9D674374-2E5E-43EB-9861-FDF8427D3688}"/>
                </a:ext>
              </a:extLst>
            </p:cNvPr>
            <p:cNvSpPr>
              <a:spLocks/>
            </p:cNvSpPr>
            <p:nvPr/>
          </p:nvSpPr>
          <p:spPr bwMode="auto">
            <a:xfrm>
              <a:off x="8569828" y="5273"/>
              <a:ext cx="914547" cy="860237"/>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09" name="Freeform 62">
              <a:extLst>
                <a:ext uri="{FF2B5EF4-FFF2-40B4-BE49-F238E27FC236}">
                  <a16:creationId xmlns:a16="http://schemas.microsoft.com/office/drawing/2014/main" xmlns="" id="{E7631984-5A4B-4E33-922E-6DEDD553E567}"/>
                </a:ext>
              </a:extLst>
            </p:cNvPr>
            <p:cNvSpPr>
              <a:spLocks/>
            </p:cNvSpPr>
            <p:nvPr/>
          </p:nvSpPr>
          <p:spPr bwMode="auto">
            <a:xfrm rot="1173377">
              <a:off x="8775762" y="160774"/>
              <a:ext cx="416238" cy="551108"/>
            </a:xfrm>
            <a:custGeom>
              <a:avLst/>
              <a:gdLst>
                <a:gd name="T0" fmla="*/ 192 w 218"/>
                <a:gd name="T1" fmla="*/ 174 h 288"/>
                <a:gd name="T2" fmla="*/ 159 w 218"/>
                <a:gd name="T3" fmla="*/ 142 h 288"/>
                <a:gd name="T4" fmla="*/ 192 w 218"/>
                <a:gd name="T5" fmla="*/ 109 h 288"/>
                <a:gd name="T6" fmla="*/ 218 w 218"/>
                <a:gd name="T7" fmla="*/ 117 h 288"/>
                <a:gd name="T8" fmla="*/ 218 w 218"/>
                <a:gd name="T9" fmla="*/ 109 h 288"/>
                <a:gd name="T10" fmla="*/ 218 w 218"/>
                <a:gd name="T11" fmla="*/ 79 h 288"/>
                <a:gd name="T12" fmla="*/ 208 w 218"/>
                <a:gd name="T13" fmla="*/ 69 h 288"/>
                <a:gd name="T14" fmla="*/ 163 w 218"/>
                <a:gd name="T15" fmla="*/ 69 h 288"/>
                <a:gd name="T16" fmla="*/ 173 w 218"/>
                <a:gd name="T17" fmla="*/ 32 h 288"/>
                <a:gd name="T18" fmla="*/ 140 w 218"/>
                <a:gd name="T19" fmla="*/ 0 h 288"/>
                <a:gd name="T20" fmla="*/ 107 w 218"/>
                <a:gd name="T21" fmla="*/ 32 h 288"/>
                <a:gd name="T22" fmla="*/ 117 w 218"/>
                <a:gd name="T23" fmla="*/ 69 h 288"/>
                <a:gd name="T24" fmla="*/ 72 w 218"/>
                <a:gd name="T25" fmla="*/ 69 h 288"/>
                <a:gd name="T26" fmla="*/ 62 w 218"/>
                <a:gd name="T27" fmla="*/ 79 h 288"/>
                <a:gd name="T28" fmla="*/ 62 w 218"/>
                <a:gd name="T29" fmla="*/ 119 h 288"/>
                <a:gd name="T30" fmla="*/ 33 w 218"/>
                <a:gd name="T31" fmla="*/ 112 h 288"/>
                <a:gd name="T32" fmla="*/ 0 w 218"/>
                <a:gd name="T33" fmla="*/ 144 h 288"/>
                <a:gd name="T34" fmla="*/ 33 w 218"/>
                <a:gd name="T35" fmla="*/ 177 h 288"/>
                <a:gd name="T36" fmla="*/ 62 w 218"/>
                <a:gd name="T37" fmla="*/ 170 h 288"/>
                <a:gd name="T38" fmla="*/ 62 w 218"/>
                <a:gd name="T39" fmla="*/ 215 h 288"/>
                <a:gd name="T40" fmla="*/ 72 w 218"/>
                <a:gd name="T41" fmla="*/ 225 h 288"/>
                <a:gd name="T42" fmla="*/ 116 w 218"/>
                <a:gd name="T43" fmla="*/ 225 h 288"/>
                <a:gd name="T44" fmla="*/ 107 w 218"/>
                <a:gd name="T45" fmla="*/ 256 h 288"/>
                <a:gd name="T46" fmla="*/ 140 w 218"/>
                <a:gd name="T47" fmla="*/ 288 h 288"/>
                <a:gd name="T48" fmla="*/ 173 w 218"/>
                <a:gd name="T49" fmla="*/ 256 h 288"/>
                <a:gd name="T50" fmla="*/ 164 w 218"/>
                <a:gd name="T51" fmla="*/ 225 h 288"/>
                <a:gd name="T52" fmla="*/ 208 w 218"/>
                <a:gd name="T53" fmla="*/ 225 h 288"/>
                <a:gd name="T54" fmla="*/ 218 w 218"/>
                <a:gd name="T55" fmla="*/ 215 h 288"/>
                <a:gd name="T56" fmla="*/ 218 w 218"/>
                <a:gd name="T57" fmla="*/ 180 h 288"/>
                <a:gd name="T58" fmla="*/ 218 w 218"/>
                <a:gd name="T59" fmla="*/ 165 h 288"/>
                <a:gd name="T60" fmla="*/ 192 w 218"/>
                <a:gd name="T6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288">
                  <a:moveTo>
                    <a:pt x="192" y="174"/>
                  </a:moveTo>
                  <a:cubicBezTo>
                    <a:pt x="174" y="174"/>
                    <a:pt x="159" y="160"/>
                    <a:pt x="159" y="142"/>
                  </a:cubicBezTo>
                  <a:cubicBezTo>
                    <a:pt x="159" y="123"/>
                    <a:pt x="174" y="109"/>
                    <a:pt x="192" y="109"/>
                  </a:cubicBezTo>
                  <a:cubicBezTo>
                    <a:pt x="199" y="109"/>
                    <a:pt x="211" y="119"/>
                    <a:pt x="218" y="117"/>
                  </a:cubicBezTo>
                  <a:cubicBezTo>
                    <a:pt x="218" y="109"/>
                    <a:pt x="218" y="109"/>
                    <a:pt x="218" y="109"/>
                  </a:cubicBezTo>
                  <a:cubicBezTo>
                    <a:pt x="218" y="79"/>
                    <a:pt x="218" y="79"/>
                    <a:pt x="218" y="79"/>
                  </a:cubicBezTo>
                  <a:cubicBezTo>
                    <a:pt x="218" y="73"/>
                    <a:pt x="213" y="69"/>
                    <a:pt x="208" y="69"/>
                  </a:cubicBezTo>
                  <a:cubicBezTo>
                    <a:pt x="208" y="69"/>
                    <a:pt x="169" y="76"/>
                    <a:pt x="163" y="69"/>
                  </a:cubicBezTo>
                  <a:cubicBezTo>
                    <a:pt x="156" y="62"/>
                    <a:pt x="173" y="41"/>
                    <a:pt x="173" y="32"/>
                  </a:cubicBezTo>
                  <a:cubicBezTo>
                    <a:pt x="173" y="14"/>
                    <a:pt x="158" y="0"/>
                    <a:pt x="140" y="0"/>
                  </a:cubicBezTo>
                  <a:cubicBezTo>
                    <a:pt x="122" y="0"/>
                    <a:pt x="107" y="14"/>
                    <a:pt x="107" y="32"/>
                  </a:cubicBezTo>
                  <a:cubicBezTo>
                    <a:pt x="107" y="41"/>
                    <a:pt x="125" y="61"/>
                    <a:pt x="117" y="69"/>
                  </a:cubicBezTo>
                  <a:cubicBezTo>
                    <a:pt x="109" y="77"/>
                    <a:pt x="72" y="69"/>
                    <a:pt x="72" y="69"/>
                  </a:cubicBezTo>
                  <a:cubicBezTo>
                    <a:pt x="66" y="69"/>
                    <a:pt x="62" y="73"/>
                    <a:pt x="62" y="79"/>
                  </a:cubicBezTo>
                  <a:cubicBezTo>
                    <a:pt x="62" y="79"/>
                    <a:pt x="69" y="112"/>
                    <a:pt x="62" y="119"/>
                  </a:cubicBezTo>
                  <a:cubicBezTo>
                    <a:pt x="55" y="125"/>
                    <a:pt x="41" y="112"/>
                    <a:pt x="33" y="112"/>
                  </a:cubicBezTo>
                  <a:cubicBezTo>
                    <a:pt x="15" y="112"/>
                    <a:pt x="0" y="126"/>
                    <a:pt x="0" y="144"/>
                  </a:cubicBezTo>
                  <a:cubicBezTo>
                    <a:pt x="0" y="162"/>
                    <a:pt x="15" y="177"/>
                    <a:pt x="33" y="177"/>
                  </a:cubicBezTo>
                  <a:cubicBezTo>
                    <a:pt x="41" y="177"/>
                    <a:pt x="54" y="162"/>
                    <a:pt x="62" y="170"/>
                  </a:cubicBezTo>
                  <a:cubicBezTo>
                    <a:pt x="70" y="178"/>
                    <a:pt x="62" y="215"/>
                    <a:pt x="62" y="215"/>
                  </a:cubicBezTo>
                  <a:cubicBezTo>
                    <a:pt x="62" y="220"/>
                    <a:pt x="66" y="225"/>
                    <a:pt x="72" y="225"/>
                  </a:cubicBezTo>
                  <a:cubicBezTo>
                    <a:pt x="72" y="225"/>
                    <a:pt x="109" y="218"/>
                    <a:pt x="116" y="225"/>
                  </a:cubicBezTo>
                  <a:cubicBezTo>
                    <a:pt x="123" y="232"/>
                    <a:pt x="107" y="247"/>
                    <a:pt x="107" y="256"/>
                  </a:cubicBezTo>
                  <a:cubicBezTo>
                    <a:pt x="107" y="274"/>
                    <a:pt x="122" y="288"/>
                    <a:pt x="140" y="288"/>
                  </a:cubicBezTo>
                  <a:cubicBezTo>
                    <a:pt x="158" y="288"/>
                    <a:pt x="173" y="274"/>
                    <a:pt x="173" y="256"/>
                  </a:cubicBezTo>
                  <a:cubicBezTo>
                    <a:pt x="173" y="247"/>
                    <a:pt x="155" y="233"/>
                    <a:pt x="164" y="225"/>
                  </a:cubicBezTo>
                  <a:cubicBezTo>
                    <a:pt x="173" y="216"/>
                    <a:pt x="208" y="225"/>
                    <a:pt x="208" y="225"/>
                  </a:cubicBezTo>
                  <a:cubicBezTo>
                    <a:pt x="213" y="225"/>
                    <a:pt x="218" y="220"/>
                    <a:pt x="218" y="215"/>
                  </a:cubicBezTo>
                  <a:cubicBezTo>
                    <a:pt x="218" y="180"/>
                    <a:pt x="218" y="180"/>
                    <a:pt x="218" y="180"/>
                  </a:cubicBezTo>
                  <a:cubicBezTo>
                    <a:pt x="218" y="165"/>
                    <a:pt x="218" y="165"/>
                    <a:pt x="218" y="165"/>
                  </a:cubicBezTo>
                  <a:cubicBezTo>
                    <a:pt x="210" y="162"/>
                    <a:pt x="199" y="174"/>
                    <a:pt x="192" y="174"/>
                  </a:cubicBezTo>
                  <a:close/>
                </a:path>
              </a:pathLst>
            </a:custGeom>
            <a:solidFill>
              <a:srgbClr val="FF6327"/>
            </a:solidFill>
            <a:ln>
              <a:noFill/>
            </a:ln>
            <a:extLst/>
          </p:spPr>
          <p:txBody>
            <a:bodyPr vert="horz" wrap="square" lIns="91440" tIns="45720" rIns="91440" bIns="45720" numCol="1" anchor="t" anchorCtr="0" compatLnSpc="1">
              <a:prstTxWarp prst="textNoShape">
                <a:avLst/>
              </a:prstTxWarp>
            </a:bodyPr>
            <a:lstStyle/>
            <a:p>
              <a:endParaRPr lang="en-IE"/>
            </a:p>
          </p:txBody>
        </p:sp>
      </p:grpSp>
      <p:grpSp>
        <p:nvGrpSpPr>
          <p:cNvPr id="6" name="Groupe 5">
            <a:extLst>
              <a:ext uri="{FF2B5EF4-FFF2-40B4-BE49-F238E27FC236}">
                <a16:creationId xmlns:a16="http://schemas.microsoft.com/office/drawing/2014/main" xmlns="" id="{806F0512-06ED-438A-96B2-35DF00869B85}"/>
              </a:ext>
            </a:extLst>
          </p:cNvPr>
          <p:cNvGrpSpPr>
            <a:grpSpLocks noChangeAspect="1"/>
          </p:cNvGrpSpPr>
          <p:nvPr/>
        </p:nvGrpSpPr>
        <p:grpSpPr>
          <a:xfrm>
            <a:off x="2320510" y="2628274"/>
            <a:ext cx="763991" cy="720000"/>
            <a:chOff x="2115476" y="2239862"/>
            <a:chExt cx="912796" cy="860237"/>
          </a:xfrm>
        </p:grpSpPr>
        <p:sp>
          <p:nvSpPr>
            <p:cNvPr id="511" name="Freeform 217">
              <a:extLst>
                <a:ext uri="{FF2B5EF4-FFF2-40B4-BE49-F238E27FC236}">
                  <a16:creationId xmlns:a16="http://schemas.microsoft.com/office/drawing/2014/main" xmlns="" id="{0DADA3ED-549B-499C-8BB9-9BAA9DDCF858}"/>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12" name="Group 892">
              <a:extLst>
                <a:ext uri="{FF2B5EF4-FFF2-40B4-BE49-F238E27FC236}">
                  <a16:creationId xmlns:a16="http://schemas.microsoft.com/office/drawing/2014/main" xmlns="" id="{4A305883-FFC8-4610-BE82-DC97375C22D0}"/>
                </a:ext>
              </a:extLst>
            </p:cNvPr>
            <p:cNvGrpSpPr/>
            <p:nvPr/>
          </p:nvGrpSpPr>
          <p:grpSpPr>
            <a:xfrm>
              <a:off x="2302485" y="2436724"/>
              <a:ext cx="448686" cy="445174"/>
              <a:chOff x="11076038" y="4842626"/>
              <a:chExt cx="894239" cy="887242"/>
            </a:xfrm>
            <a:solidFill>
              <a:schemeClr val="bg1"/>
            </a:solidFill>
          </p:grpSpPr>
          <p:sp>
            <p:nvSpPr>
              <p:cNvPr id="514" name="Freeform 34">
                <a:extLst>
                  <a:ext uri="{FF2B5EF4-FFF2-40B4-BE49-F238E27FC236}">
                    <a16:creationId xmlns:a16="http://schemas.microsoft.com/office/drawing/2014/main" xmlns="" id="{82254A1C-9D19-4BC3-9AC7-5366AE3342CF}"/>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515" name="Freeform 35">
                <a:extLst>
                  <a:ext uri="{FF2B5EF4-FFF2-40B4-BE49-F238E27FC236}">
                    <a16:creationId xmlns:a16="http://schemas.microsoft.com/office/drawing/2014/main" xmlns="" id="{EC013B4C-80DE-4914-9AF1-80C8654BD0CF}"/>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IE"/>
              </a:p>
            </p:txBody>
          </p:sp>
          <p:sp>
            <p:nvSpPr>
              <p:cNvPr id="516" name="Freeform 36">
                <a:extLst>
                  <a:ext uri="{FF2B5EF4-FFF2-40B4-BE49-F238E27FC236}">
                    <a16:creationId xmlns:a16="http://schemas.microsoft.com/office/drawing/2014/main" xmlns="" id="{188C4524-B212-48B1-9F27-99F35F599674}"/>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517" name="Freeform 37">
                <a:extLst>
                  <a:ext uri="{FF2B5EF4-FFF2-40B4-BE49-F238E27FC236}">
                    <a16:creationId xmlns:a16="http://schemas.microsoft.com/office/drawing/2014/main" xmlns="" id="{65601F57-C911-45AC-93C7-8A54CB415C2F}"/>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IE"/>
              </a:p>
            </p:txBody>
          </p:sp>
        </p:grpSp>
      </p:grpSp>
      <p:grpSp>
        <p:nvGrpSpPr>
          <p:cNvPr id="15" name="Groupe 14">
            <a:extLst>
              <a:ext uri="{FF2B5EF4-FFF2-40B4-BE49-F238E27FC236}">
                <a16:creationId xmlns:a16="http://schemas.microsoft.com/office/drawing/2014/main" xmlns="" id="{AD710DC0-54B7-4F15-A10A-D99D4635E3CE}"/>
              </a:ext>
            </a:extLst>
          </p:cNvPr>
          <p:cNvGrpSpPr>
            <a:grpSpLocks noChangeAspect="1"/>
          </p:cNvGrpSpPr>
          <p:nvPr/>
        </p:nvGrpSpPr>
        <p:grpSpPr>
          <a:xfrm>
            <a:off x="1373591" y="5292341"/>
            <a:ext cx="764639" cy="720000"/>
            <a:chOff x="-1058058" y="3704479"/>
            <a:chExt cx="911529" cy="858315"/>
          </a:xfrm>
        </p:grpSpPr>
        <p:sp>
          <p:nvSpPr>
            <p:cNvPr id="518" name="Freeform 171">
              <a:extLst>
                <a:ext uri="{FF2B5EF4-FFF2-40B4-BE49-F238E27FC236}">
                  <a16:creationId xmlns:a16="http://schemas.microsoft.com/office/drawing/2014/main" xmlns="" id="{A915391D-3BAF-41E0-9CB3-3BB712CC2925}"/>
                </a:ext>
              </a:extLst>
            </p:cNvPr>
            <p:cNvSpPr>
              <a:spLocks/>
            </p:cNvSpPr>
            <p:nvPr/>
          </p:nvSpPr>
          <p:spPr bwMode="auto">
            <a:xfrm>
              <a:off x="-1058058" y="3704479"/>
              <a:ext cx="911529" cy="858315"/>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sp>
          <p:nvSpPr>
            <p:cNvPr id="519" name="Freeform 26">
              <a:extLst>
                <a:ext uri="{FF2B5EF4-FFF2-40B4-BE49-F238E27FC236}">
                  <a16:creationId xmlns:a16="http://schemas.microsoft.com/office/drawing/2014/main" xmlns="" id="{50D585F2-F3E6-40B4-914D-5579DA2EEC1E}"/>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chemeClr val="accent4"/>
            </a:solidFill>
            <a:ln w="9525">
              <a:noFill/>
              <a:round/>
              <a:headEnd/>
              <a:tailEnd/>
            </a:ln>
            <a:extLst/>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14" name="Groupe 13">
              <a:extLst>
                <a:ext uri="{FF2B5EF4-FFF2-40B4-BE49-F238E27FC236}">
                  <a16:creationId xmlns:a16="http://schemas.microsoft.com/office/drawing/2014/main" xmlns="" id="{68A8F5E5-90CA-4E00-ABD5-4C5A0F7822CF}"/>
                </a:ext>
              </a:extLst>
            </p:cNvPr>
            <p:cNvGrpSpPr>
              <a:grpSpLocks noChangeAspect="1"/>
            </p:cNvGrpSpPr>
            <p:nvPr/>
          </p:nvGrpSpPr>
          <p:grpSpPr>
            <a:xfrm>
              <a:off x="-659195" y="3966579"/>
              <a:ext cx="84532" cy="288000"/>
              <a:chOff x="-687930" y="3942515"/>
              <a:chExt cx="120467" cy="410428"/>
            </a:xfrm>
            <a:solidFill>
              <a:schemeClr val="bg1"/>
            </a:solidFill>
          </p:grpSpPr>
          <p:sp>
            <p:nvSpPr>
              <p:cNvPr id="529" name="Freeform 112">
                <a:extLst>
                  <a:ext uri="{FF2B5EF4-FFF2-40B4-BE49-F238E27FC236}">
                    <a16:creationId xmlns:a16="http://schemas.microsoft.com/office/drawing/2014/main" xmlns="" id="{7F87288A-82DF-4A95-9273-B2D0AF853D8B}"/>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13">
                <a:extLst>
                  <a:ext uri="{FF2B5EF4-FFF2-40B4-BE49-F238E27FC236}">
                    <a16:creationId xmlns:a16="http://schemas.microsoft.com/office/drawing/2014/main" xmlns="" id="{E039528A-9519-4E81-809D-0E5467EAC27F}"/>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1" name="Groupe 530">
            <a:extLst>
              <a:ext uri="{FF2B5EF4-FFF2-40B4-BE49-F238E27FC236}">
                <a16:creationId xmlns:a16="http://schemas.microsoft.com/office/drawing/2014/main" xmlns="" id="{4F1A6FAA-6366-4E97-948A-40ADA015A6BE}"/>
              </a:ext>
            </a:extLst>
          </p:cNvPr>
          <p:cNvGrpSpPr>
            <a:grpSpLocks noChangeAspect="1"/>
          </p:cNvGrpSpPr>
          <p:nvPr/>
        </p:nvGrpSpPr>
        <p:grpSpPr>
          <a:xfrm>
            <a:off x="3238907" y="2687110"/>
            <a:ext cx="764551" cy="720000"/>
            <a:chOff x="6572083" y="6573435"/>
            <a:chExt cx="913245" cy="860030"/>
          </a:xfrm>
        </p:grpSpPr>
        <p:sp>
          <p:nvSpPr>
            <p:cNvPr id="532" name="Freeform 201">
              <a:extLst>
                <a:ext uri="{FF2B5EF4-FFF2-40B4-BE49-F238E27FC236}">
                  <a16:creationId xmlns:a16="http://schemas.microsoft.com/office/drawing/2014/main" xmlns="" id="{144C5DAE-7B5E-4D76-A383-B04B95D91A99}"/>
                </a:ext>
              </a:extLst>
            </p:cNvPr>
            <p:cNvSpPr>
              <a:spLocks/>
            </p:cNvSpPr>
            <p:nvPr/>
          </p:nvSpPr>
          <p:spPr bwMode="auto">
            <a:xfrm>
              <a:off x="6572083" y="6573435"/>
              <a:ext cx="913245" cy="860030"/>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defTabSz="742950"/>
              <a:endParaRPr lang="en-US" sz="1600">
                <a:solidFill>
                  <a:srgbClr val="000000"/>
                </a:solidFill>
                <a:latin typeface="Verdana"/>
              </a:endParaRPr>
            </a:p>
          </p:txBody>
        </p:sp>
        <p:grpSp>
          <p:nvGrpSpPr>
            <p:cNvPr id="533" name="Group 148">
              <a:extLst>
                <a:ext uri="{FF2B5EF4-FFF2-40B4-BE49-F238E27FC236}">
                  <a16:creationId xmlns:a16="http://schemas.microsoft.com/office/drawing/2014/main" xmlns="" id="{CCB2CAD6-FDA1-4A3E-BA4F-551CDFAAD2B5}"/>
                </a:ext>
              </a:extLst>
            </p:cNvPr>
            <p:cNvGrpSpPr/>
            <p:nvPr/>
          </p:nvGrpSpPr>
          <p:grpSpPr>
            <a:xfrm>
              <a:off x="6707479" y="6742108"/>
              <a:ext cx="559418" cy="469458"/>
              <a:chOff x="6024422" y="2090478"/>
              <a:chExt cx="1035582" cy="869051"/>
            </a:xfrm>
            <a:solidFill>
              <a:srgbClr val="2FD6D5"/>
            </a:solidFill>
          </p:grpSpPr>
          <p:sp>
            <p:nvSpPr>
              <p:cNvPr id="534" name="Freeform 26">
                <a:extLst>
                  <a:ext uri="{FF2B5EF4-FFF2-40B4-BE49-F238E27FC236}">
                    <a16:creationId xmlns:a16="http://schemas.microsoft.com/office/drawing/2014/main" xmlns="" id="{79110E65-C822-4F47-ACD2-F99943E251C2}"/>
                  </a:ext>
                </a:extLst>
              </p:cNvPr>
              <p:cNvSpPr>
                <a:spLocks/>
              </p:cNvSpPr>
              <p:nvPr/>
            </p:nvSpPr>
            <p:spPr bwMode="auto">
              <a:xfrm>
                <a:off x="6603788" y="2493516"/>
                <a:ext cx="456216" cy="466013"/>
              </a:xfrm>
              <a:custGeom>
                <a:avLst/>
                <a:gdLst>
                  <a:gd name="T0" fmla="*/ 699 w 749"/>
                  <a:gd name="T1" fmla="*/ 441 h 763"/>
                  <a:gd name="T2" fmla="*/ 260 w 749"/>
                  <a:gd name="T3" fmla="*/ 0 h 763"/>
                  <a:gd name="T4" fmla="*/ 204 w 749"/>
                  <a:gd name="T5" fmla="*/ 96 h 763"/>
                  <a:gd name="T6" fmla="*/ 599 w 749"/>
                  <a:gd name="T7" fmla="*/ 493 h 763"/>
                  <a:gd name="T8" fmla="*/ 599 w 749"/>
                  <a:gd name="T9" fmla="*/ 540 h 763"/>
                  <a:gd name="T10" fmla="*/ 575 w 749"/>
                  <a:gd name="T11" fmla="*/ 549 h 763"/>
                  <a:gd name="T12" fmla="*/ 552 w 749"/>
                  <a:gd name="T13" fmla="*/ 540 h 763"/>
                  <a:gd name="T14" fmla="*/ 161 w 749"/>
                  <a:gd name="T15" fmla="*/ 146 h 763"/>
                  <a:gd name="T16" fmla="*/ 159 w 749"/>
                  <a:gd name="T17" fmla="*/ 149 h 763"/>
                  <a:gd name="T18" fmla="*/ 159 w 749"/>
                  <a:gd name="T19" fmla="*/ 149 h 763"/>
                  <a:gd name="T20" fmla="*/ 0 w 749"/>
                  <a:gd name="T21" fmla="*/ 254 h 763"/>
                  <a:gd name="T22" fmla="*/ 4 w 749"/>
                  <a:gd name="T23" fmla="*/ 367 h 763"/>
                  <a:gd name="T24" fmla="*/ 45 w 749"/>
                  <a:gd name="T25" fmla="*/ 409 h 763"/>
                  <a:gd name="T26" fmla="*/ 172 w 749"/>
                  <a:gd name="T27" fmla="*/ 414 h 763"/>
                  <a:gd name="T28" fmla="*/ 176 w 749"/>
                  <a:gd name="T29" fmla="*/ 540 h 763"/>
                  <a:gd name="T30" fmla="*/ 218 w 749"/>
                  <a:gd name="T31" fmla="*/ 582 h 763"/>
                  <a:gd name="T32" fmla="*/ 344 w 749"/>
                  <a:gd name="T33" fmla="*/ 587 h 763"/>
                  <a:gd name="T34" fmla="*/ 348 w 749"/>
                  <a:gd name="T35" fmla="*/ 713 h 763"/>
                  <a:gd name="T36" fmla="*/ 361 w 749"/>
                  <a:gd name="T37" fmla="*/ 742 h 763"/>
                  <a:gd name="T38" fmla="*/ 390 w 749"/>
                  <a:gd name="T39" fmla="*/ 755 h 763"/>
                  <a:gd name="T40" fmla="*/ 557 w 749"/>
                  <a:gd name="T41" fmla="*/ 762 h 763"/>
                  <a:gd name="T42" fmla="*/ 557 w 749"/>
                  <a:gd name="T43" fmla="*/ 741 h 763"/>
                  <a:gd name="T44" fmla="*/ 557 w 749"/>
                  <a:gd name="T45" fmla="*/ 762 h 763"/>
                  <a:gd name="T46" fmla="*/ 564 w 749"/>
                  <a:gd name="T47" fmla="*/ 763 h 763"/>
                  <a:gd name="T48" fmla="*/ 697 w 749"/>
                  <a:gd name="T49" fmla="*/ 707 h 763"/>
                  <a:gd name="T50" fmla="*/ 749 w 749"/>
                  <a:gd name="T51" fmla="*/ 573 h 763"/>
                  <a:gd name="T52" fmla="*/ 699 w 749"/>
                  <a:gd name="T53" fmla="*/ 44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9" h="763">
                    <a:moveTo>
                      <a:pt x="699" y="441"/>
                    </a:moveTo>
                    <a:cubicBezTo>
                      <a:pt x="659" y="401"/>
                      <a:pt x="417" y="157"/>
                      <a:pt x="260" y="0"/>
                    </a:cubicBezTo>
                    <a:cubicBezTo>
                      <a:pt x="246" y="33"/>
                      <a:pt x="227" y="66"/>
                      <a:pt x="204" y="96"/>
                    </a:cubicBezTo>
                    <a:cubicBezTo>
                      <a:pt x="599" y="493"/>
                      <a:pt x="599" y="493"/>
                      <a:pt x="599" y="493"/>
                    </a:cubicBezTo>
                    <a:cubicBezTo>
                      <a:pt x="612" y="506"/>
                      <a:pt x="611" y="527"/>
                      <a:pt x="599" y="540"/>
                    </a:cubicBezTo>
                    <a:cubicBezTo>
                      <a:pt x="592" y="546"/>
                      <a:pt x="584" y="549"/>
                      <a:pt x="575" y="549"/>
                    </a:cubicBezTo>
                    <a:cubicBezTo>
                      <a:pt x="567" y="549"/>
                      <a:pt x="558" y="546"/>
                      <a:pt x="552" y="540"/>
                    </a:cubicBezTo>
                    <a:cubicBezTo>
                      <a:pt x="161" y="146"/>
                      <a:pt x="161" y="146"/>
                      <a:pt x="161" y="146"/>
                    </a:cubicBezTo>
                    <a:cubicBezTo>
                      <a:pt x="160" y="147"/>
                      <a:pt x="159" y="148"/>
                      <a:pt x="159" y="149"/>
                    </a:cubicBezTo>
                    <a:cubicBezTo>
                      <a:pt x="159" y="149"/>
                      <a:pt x="159" y="149"/>
                      <a:pt x="159" y="149"/>
                    </a:cubicBezTo>
                    <a:cubicBezTo>
                      <a:pt x="112" y="195"/>
                      <a:pt x="58" y="230"/>
                      <a:pt x="0" y="254"/>
                    </a:cubicBezTo>
                    <a:cubicBezTo>
                      <a:pt x="4" y="367"/>
                      <a:pt x="4" y="367"/>
                      <a:pt x="4" y="367"/>
                    </a:cubicBezTo>
                    <a:cubicBezTo>
                      <a:pt x="5" y="389"/>
                      <a:pt x="23" y="408"/>
                      <a:pt x="45" y="409"/>
                    </a:cubicBezTo>
                    <a:cubicBezTo>
                      <a:pt x="172" y="414"/>
                      <a:pt x="172" y="414"/>
                      <a:pt x="172" y="414"/>
                    </a:cubicBezTo>
                    <a:cubicBezTo>
                      <a:pt x="176" y="540"/>
                      <a:pt x="176" y="540"/>
                      <a:pt x="176" y="540"/>
                    </a:cubicBezTo>
                    <a:cubicBezTo>
                      <a:pt x="177" y="563"/>
                      <a:pt x="195" y="581"/>
                      <a:pt x="218" y="582"/>
                    </a:cubicBezTo>
                    <a:cubicBezTo>
                      <a:pt x="344" y="587"/>
                      <a:pt x="344" y="587"/>
                      <a:pt x="344" y="587"/>
                    </a:cubicBezTo>
                    <a:cubicBezTo>
                      <a:pt x="348" y="713"/>
                      <a:pt x="348" y="713"/>
                      <a:pt x="348" y="713"/>
                    </a:cubicBezTo>
                    <a:cubicBezTo>
                      <a:pt x="348" y="724"/>
                      <a:pt x="353" y="735"/>
                      <a:pt x="361" y="742"/>
                    </a:cubicBezTo>
                    <a:cubicBezTo>
                      <a:pt x="368" y="750"/>
                      <a:pt x="378" y="755"/>
                      <a:pt x="390" y="755"/>
                    </a:cubicBezTo>
                    <a:cubicBezTo>
                      <a:pt x="389" y="755"/>
                      <a:pt x="526" y="761"/>
                      <a:pt x="557" y="762"/>
                    </a:cubicBezTo>
                    <a:cubicBezTo>
                      <a:pt x="557" y="741"/>
                      <a:pt x="557" y="741"/>
                      <a:pt x="557" y="741"/>
                    </a:cubicBezTo>
                    <a:cubicBezTo>
                      <a:pt x="557" y="762"/>
                      <a:pt x="557" y="762"/>
                      <a:pt x="557" y="762"/>
                    </a:cubicBezTo>
                    <a:cubicBezTo>
                      <a:pt x="559" y="763"/>
                      <a:pt x="561" y="763"/>
                      <a:pt x="564" y="763"/>
                    </a:cubicBezTo>
                    <a:cubicBezTo>
                      <a:pt x="618" y="763"/>
                      <a:pt x="664" y="740"/>
                      <a:pt x="697" y="707"/>
                    </a:cubicBezTo>
                    <a:cubicBezTo>
                      <a:pt x="733" y="672"/>
                      <a:pt x="749" y="622"/>
                      <a:pt x="749" y="573"/>
                    </a:cubicBezTo>
                    <a:cubicBezTo>
                      <a:pt x="749" y="524"/>
                      <a:pt x="733" y="476"/>
                      <a:pt x="699" y="4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535" name="Freeform 27">
                <a:extLst>
                  <a:ext uri="{FF2B5EF4-FFF2-40B4-BE49-F238E27FC236}">
                    <a16:creationId xmlns:a16="http://schemas.microsoft.com/office/drawing/2014/main" xmlns="" id="{9DE076D4-FA4B-4CEF-85A4-4F36F5E25534}"/>
                  </a:ext>
                </a:extLst>
              </p:cNvPr>
              <p:cNvSpPr>
                <a:spLocks noEditPoints="1"/>
              </p:cNvSpPr>
              <p:nvPr/>
            </p:nvSpPr>
            <p:spPr bwMode="auto">
              <a:xfrm>
                <a:off x="6024422" y="2090478"/>
                <a:ext cx="740302" cy="589163"/>
              </a:xfrm>
              <a:custGeom>
                <a:avLst/>
                <a:gdLst>
                  <a:gd name="T0" fmla="*/ 1069 w 1214"/>
                  <a:gd name="T1" fmla="*/ 754 h 966"/>
                  <a:gd name="T2" fmla="*/ 1099 w 1214"/>
                  <a:gd name="T3" fmla="*/ 719 h 966"/>
                  <a:gd name="T4" fmla="*/ 1159 w 1214"/>
                  <a:gd name="T5" fmla="*/ 610 h 966"/>
                  <a:gd name="T6" fmla="*/ 1063 w 1214"/>
                  <a:gd name="T7" fmla="*/ 166 h 966"/>
                  <a:gd name="T8" fmla="*/ 466 w 1214"/>
                  <a:gd name="T9" fmla="*/ 164 h 966"/>
                  <a:gd name="T10" fmla="*/ 356 w 1214"/>
                  <a:gd name="T11" fmla="*/ 357 h 966"/>
                  <a:gd name="T12" fmla="*/ 249 w 1214"/>
                  <a:gd name="T13" fmla="*/ 429 h 966"/>
                  <a:gd name="T14" fmla="*/ 47 w 1214"/>
                  <a:gd name="T15" fmla="*/ 661 h 966"/>
                  <a:gd name="T16" fmla="*/ 16 w 1214"/>
                  <a:gd name="T17" fmla="*/ 851 h 966"/>
                  <a:gd name="T18" fmla="*/ 42 w 1214"/>
                  <a:gd name="T19" fmla="*/ 902 h 966"/>
                  <a:gd name="T20" fmla="*/ 94 w 1214"/>
                  <a:gd name="T21" fmla="*/ 944 h 966"/>
                  <a:gd name="T22" fmla="*/ 192 w 1214"/>
                  <a:gd name="T23" fmla="*/ 966 h 966"/>
                  <a:gd name="T24" fmla="*/ 541 w 1214"/>
                  <a:gd name="T25" fmla="*/ 822 h 966"/>
                  <a:gd name="T26" fmla="*/ 924 w 1214"/>
                  <a:gd name="T27" fmla="*/ 854 h 966"/>
                  <a:gd name="T28" fmla="*/ 1061 w 1214"/>
                  <a:gd name="T29" fmla="*/ 763 h 966"/>
                  <a:gd name="T30" fmla="*/ 1069 w 1214"/>
                  <a:gd name="T31" fmla="*/ 754 h 966"/>
                  <a:gd name="T32" fmla="*/ 790 w 1214"/>
                  <a:gd name="T33" fmla="*/ 470 h 966"/>
                  <a:gd name="T34" fmla="*/ 780 w 1214"/>
                  <a:gd name="T35" fmla="*/ 480 h 966"/>
                  <a:gd name="T36" fmla="*/ 776 w 1214"/>
                  <a:gd name="T37" fmla="*/ 485 h 966"/>
                  <a:gd name="T38" fmla="*/ 688 w 1214"/>
                  <a:gd name="T39" fmla="*/ 518 h 966"/>
                  <a:gd name="T40" fmla="*/ 641 w 1214"/>
                  <a:gd name="T41" fmla="*/ 510 h 966"/>
                  <a:gd name="T42" fmla="*/ 636 w 1214"/>
                  <a:gd name="T43" fmla="*/ 522 h 966"/>
                  <a:gd name="T44" fmla="*/ 470 w 1214"/>
                  <a:gd name="T45" fmla="*/ 711 h 966"/>
                  <a:gd name="T46" fmla="*/ 439 w 1214"/>
                  <a:gd name="T47" fmla="*/ 733 h 966"/>
                  <a:gd name="T48" fmla="*/ 192 w 1214"/>
                  <a:gd name="T49" fmla="*/ 834 h 966"/>
                  <a:gd name="T50" fmla="*/ 146 w 1214"/>
                  <a:gd name="T51" fmla="*/ 820 h 966"/>
                  <a:gd name="T52" fmla="*/ 149 w 1214"/>
                  <a:gd name="T53" fmla="*/ 756 h 966"/>
                  <a:gd name="T54" fmla="*/ 164 w 1214"/>
                  <a:gd name="T55" fmla="*/ 722 h 966"/>
                  <a:gd name="T56" fmla="*/ 330 w 1214"/>
                  <a:gd name="T57" fmla="*/ 533 h 966"/>
                  <a:gd name="T58" fmla="*/ 346 w 1214"/>
                  <a:gd name="T59" fmla="*/ 521 h 966"/>
                  <a:gd name="T60" fmla="*/ 391 w 1214"/>
                  <a:gd name="T61" fmla="*/ 660 h 966"/>
                  <a:gd name="T62" fmla="*/ 417 w 1214"/>
                  <a:gd name="T63" fmla="*/ 641 h 966"/>
                  <a:gd name="T64" fmla="*/ 565 w 1214"/>
                  <a:gd name="T65" fmla="*/ 480 h 966"/>
                  <a:gd name="T66" fmla="*/ 577 w 1214"/>
                  <a:gd name="T67" fmla="*/ 457 h 966"/>
                  <a:gd name="T68" fmla="*/ 561 w 1214"/>
                  <a:gd name="T69" fmla="*/ 415 h 966"/>
                  <a:gd name="T70" fmla="*/ 558 w 1214"/>
                  <a:gd name="T71" fmla="*/ 387 h 966"/>
                  <a:gd name="T72" fmla="*/ 596 w 1214"/>
                  <a:gd name="T73" fmla="*/ 295 h 966"/>
                  <a:gd name="T74" fmla="*/ 618 w 1214"/>
                  <a:gd name="T75" fmla="*/ 278 h 966"/>
                  <a:gd name="T76" fmla="*/ 679 w 1214"/>
                  <a:gd name="T77" fmla="*/ 258 h 966"/>
                  <a:gd name="T78" fmla="*/ 688 w 1214"/>
                  <a:gd name="T79" fmla="*/ 257 h 966"/>
                  <a:gd name="T80" fmla="*/ 781 w 1214"/>
                  <a:gd name="T81" fmla="*/ 296 h 966"/>
                  <a:gd name="T82" fmla="*/ 819 w 1214"/>
                  <a:gd name="T83" fmla="*/ 385 h 966"/>
                  <a:gd name="T84" fmla="*/ 790 w 1214"/>
                  <a:gd name="T85" fmla="*/ 47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66">
                    <a:moveTo>
                      <a:pt x="1069" y="754"/>
                    </a:moveTo>
                    <a:cubicBezTo>
                      <a:pt x="1080" y="743"/>
                      <a:pt x="1090" y="731"/>
                      <a:pt x="1099" y="719"/>
                    </a:cubicBezTo>
                    <a:cubicBezTo>
                      <a:pt x="1125" y="685"/>
                      <a:pt x="1145" y="649"/>
                      <a:pt x="1159" y="610"/>
                    </a:cubicBezTo>
                    <a:cubicBezTo>
                      <a:pt x="1214" y="461"/>
                      <a:pt x="1183" y="287"/>
                      <a:pt x="1063" y="166"/>
                    </a:cubicBezTo>
                    <a:cubicBezTo>
                      <a:pt x="899" y="1"/>
                      <a:pt x="632" y="0"/>
                      <a:pt x="466" y="164"/>
                    </a:cubicBezTo>
                    <a:cubicBezTo>
                      <a:pt x="411" y="220"/>
                      <a:pt x="374" y="286"/>
                      <a:pt x="356" y="357"/>
                    </a:cubicBezTo>
                    <a:cubicBezTo>
                      <a:pt x="320" y="378"/>
                      <a:pt x="284" y="402"/>
                      <a:pt x="249" y="429"/>
                    </a:cubicBezTo>
                    <a:cubicBezTo>
                      <a:pt x="160" y="498"/>
                      <a:pt x="88" y="581"/>
                      <a:pt x="47" y="661"/>
                    </a:cubicBezTo>
                    <a:cubicBezTo>
                      <a:pt x="10" y="733"/>
                      <a:pt x="0" y="798"/>
                      <a:pt x="16" y="851"/>
                    </a:cubicBezTo>
                    <a:cubicBezTo>
                      <a:pt x="21" y="870"/>
                      <a:pt x="30" y="887"/>
                      <a:pt x="42" y="902"/>
                    </a:cubicBezTo>
                    <a:cubicBezTo>
                      <a:pt x="53" y="916"/>
                      <a:pt x="70" y="932"/>
                      <a:pt x="94" y="944"/>
                    </a:cubicBezTo>
                    <a:cubicBezTo>
                      <a:pt x="118" y="957"/>
                      <a:pt x="150" y="966"/>
                      <a:pt x="192" y="966"/>
                    </a:cubicBezTo>
                    <a:cubicBezTo>
                      <a:pt x="293" y="966"/>
                      <a:pt x="423" y="912"/>
                      <a:pt x="541" y="822"/>
                    </a:cubicBezTo>
                    <a:cubicBezTo>
                      <a:pt x="657" y="894"/>
                      <a:pt x="800" y="905"/>
                      <a:pt x="924" y="854"/>
                    </a:cubicBezTo>
                    <a:cubicBezTo>
                      <a:pt x="974" y="833"/>
                      <a:pt x="1021" y="803"/>
                      <a:pt x="1061" y="763"/>
                    </a:cubicBezTo>
                    <a:cubicBezTo>
                      <a:pt x="1064" y="760"/>
                      <a:pt x="1066" y="757"/>
                      <a:pt x="1069" y="754"/>
                    </a:cubicBezTo>
                    <a:close/>
                    <a:moveTo>
                      <a:pt x="790" y="470"/>
                    </a:moveTo>
                    <a:cubicBezTo>
                      <a:pt x="787" y="473"/>
                      <a:pt x="784" y="477"/>
                      <a:pt x="780" y="480"/>
                    </a:cubicBezTo>
                    <a:cubicBezTo>
                      <a:pt x="779" y="482"/>
                      <a:pt x="777" y="483"/>
                      <a:pt x="776" y="485"/>
                    </a:cubicBezTo>
                    <a:cubicBezTo>
                      <a:pt x="752" y="506"/>
                      <a:pt x="721" y="518"/>
                      <a:pt x="688" y="518"/>
                    </a:cubicBezTo>
                    <a:cubicBezTo>
                      <a:pt x="672" y="518"/>
                      <a:pt x="656" y="515"/>
                      <a:pt x="641" y="510"/>
                    </a:cubicBezTo>
                    <a:cubicBezTo>
                      <a:pt x="640" y="514"/>
                      <a:pt x="638" y="518"/>
                      <a:pt x="636" y="522"/>
                    </a:cubicBezTo>
                    <a:cubicBezTo>
                      <a:pt x="603" y="584"/>
                      <a:pt x="543" y="653"/>
                      <a:pt x="470" y="711"/>
                    </a:cubicBezTo>
                    <a:cubicBezTo>
                      <a:pt x="460" y="718"/>
                      <a:pt x="450" y="726"/>
                      <a:pt x="439" y="733"/>
                    </a:cubicBezTo>
                    <a:cubicBezTo>
                      <a:pt x="352" y="795"/>
                      <a:pt x="258" y="834"/>
                      <a:pt x="192" y="834"/>
                    </a:cubicBezTo>
                    <a:cubicBezTo>
                      <a:pt x="170" y="834"/>
                      <a:pt x="152" y="829"/>
                      <a:pt x="146" y="820"/>
                    </a:cubicBezTo>
                    <a:cubicBezTo>
                      <a:pt x="139" y="811"/>
                      <a:pt x="138" y="789"/>
                      <a:pt x="149" y="756"/>
                    </a:cubicBezTo>
                    <a:cubicBezTo>
                      <a:pt x="153" y="746"/>
                      <a:pt x="158" y="734"/>
                      <a:pt x="164" y="722"/>
                    </a:cubicBezTo>
                    <a:cubicBezTo>
                      <a:pt x="197" y="659"/>
                      <a:pt x="257" y="590"/>
                      <a:pt x="330" y="533"/>
                    </a:cubicBezTo>
                    <a:cubicBezTo>
                      <a:pt x="336" y="529"/>
                      <a:pt x="341" y="525"/>
                      <a:pt x="346" y="521"/>
                    </a:cubicBezTo>
                    <a:cubicBezTo>
                      <a:pt x="353" y="569"/>
                      <a:pt x="367" y="616"/>
                      <a:pt x="391" y="660"/>
                    </a:cubicBezTo>
                    <a:cubicBezTo>
                      <a:pt x="400" y="654"/>
                      <a:pt x="409" y="647"/>
                      <a:pt x="417" y="641"/>
                    </a:cubicBezTo>
                    <a:cubicBezTo>
                      <a:pt x="480" y="591"/>
                      <a:pt x="532" y="534"/>
                      <a:pt x="565" y="480"/>
                    </a:cubicBezTo>
                    <a:cubicBezTo>
                      <a:pt x="570" y="472"/>
                      <a:pt x="574" y="464"/>
                      <a:pt x="577" y="457"/>
                    </a:cubicBezTo>
                    <a:cubicBezTo>
                      <a:pt x="569" y="444"/>
                      <a:pt x="564" y="430"/>
                      <a:pt x="561" y="415"/>
                    </a:cubicBezTo>
                    <a:cubicBezTo>
                      <a:pt x="559" y="406"/>
                      <a:pt x="558" y="397"/>
                      <a:pt x="558" y="387"/>
                    </a:cubicBezTo>
                    <a:cubicBezTo>
                      <a:pt x="558" y="353"/>
                      <a:pt x="571" y="320"/>
                      <a:pt x="596" y="295"/>
                    </a:cubicBezTo>
                    <a:cubicBezTo>
                      <a:pt x="603" y="289"/>
                      <a:pt x="610" y="283"/>
                      <a:pt x="618" y="278"/>
                    </a:cubicBezTo>
                    <a:cubicBezTo>
                      <a:pt x="636" y="266"/>
                      <a:pt x="657" y="259"/>
                      <a:pt x="679" y="258"/>
                    </a:cubicBezTo>
                    <a:cubicBezTo>
                      <a:pt x="682" y="257"/>
                      <a:pt x="685" y="257"/>
                      <a:pt x="688" y="257"/>
                    </a:cubicBezTo>
                    <a:cubicBezTo>
                      <a:pt x="723" y="257"/>
                      <a:pt x="756" y="271"/>
                      <a:pt x="781" y="296"/>
                    </a:cubicBezTo>
                    <a:cubicBezTo>
                      <a:pt x="805" y="321"/>
                      <a:pt x="818" y="353"/>
                      <a:pt x="819" y="385"/>
                    </a:cubicBezTo>
                    <a:cubicBezTo>
                      <a:pt x="819" y="415"/>
                      <a:pt x="810" y="445"/>
                      <a:pt x="790" y="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grpSp>
    </p:spTree>
    <p:extLst>
      <p:ext uri="{BB962C8B-B14F-4D97-AF65-F5344CB8AC3E}">
        <p14:creationId xmlns:p14="http://schemas.microsoft.com/office/powerpoint/2010/main" val="40652149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xmlns=""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xmlns=""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xmlns=""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xmlns=""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xmlns=""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xmlns=""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xmlns=""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xmlns=""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xmlns=""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xmlns=""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xmlns=""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xmlns=""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xmlns=""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a:t>Graphic elements</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flow</a:t>
            </a:r>
            <a:endParaRPr lang="en-US" dirty="0"/>
          </a:p>
        </p:txBody>
      </p:sp>
      <p:sp>
        <p:nvSpPr>
          <p:cNvPr id="5" name="Flowchart: Process 4"/>
          <p:cNvSpPr/>
          <p:nvPr/>
        </p:nvSpPr>
        <p:spPr>
          <a:xfrm>
            <a:off x="533400" y="2038663"/>
            <a:ext cx="16764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Understanding the data </a:t>
            </a:r>
            <a:endParaRPr lang="en-US" sz="1200" dirty="0"/>
          </a:p>
        </p:txBody>
      </p:sp>
      <p:sp>
        <p:nvSpPr>
          <p:cNvPr id="8" name="Flowchart: Process 7"/>
          <p:cNvSpPr/>
          <p:nvPr/>
        </p:nvSpPr>
        <p:spPr>
          <a:xfrm>
            <a:off x="5638800" y="2057400"/>
            <a:ext cx="15240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Data cleaning using </a:t>
            </a:r>
            <a:r>
              <a:rPr lang="en-US" sz="1200" dirty="0" err="1" smtClean="0"/>
              <a:t>talend</a:t>
            </a:r>
            <a:endParaRPr lang="en-US" sz="1200" dirty="0"/>
          </a:p>
        </p:txBody>
      </p:sp>
      <p:cxnSp>
        <p:nvCxnSpPr>
          <p:cNvPr id="10" name="Straight Arrow Connector 9"/>
          <p:cNvCxnSpPr>
            <a:stCxn id="5" idx="3"/>
          </p:cNvCxnSpPr>
          <p:nvPr/>
        </p:nvCxnSpPr>
        <p:spPr>
          <a:xfrm>
            <a:off x="2209800" y="2533963"/>
            <a:ext cx="8534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endCxn id="8" idx="1"/>
          </p:cNvCxnSpPr>
          <p:nvPr/>
        </p:nvCxnSpPr>
        <p:spPr>
          <a:xfrm>
            <a:off x="4785360" y="2552700"/>
            <a:ext cx="8534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029200" y="2362200"/>
            <a:ext cx="533400" cy="190500"/>
          </a:xfrm>
          <a:prstGeom prst="rect">
            <a:avLst/>
          </a:prstGeom>
          <a:noFill/>
        </p:spPr>
        <p:txBody>
          <a:bodyPr vert="horz" wrap="square" lIns="0" tIns="0" rIns="0" bIns="0" rtlCol="0" anchor="ctr">
            <a:noAutofit/>
          </a:bodyPr>
          <a:lstStyle/>
          <a:p>
            <a: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pPr>
            <a:r>
              <a:rPr kumimoji="0" lang="en-US" sz="1200" b="1" i="0" u="none" strike="noStrike" kern="1200" cap="none" spc="0" normalizeH="0" baseline="0" noProof="0" dirty="0" smtClean="0">
                <a:ln>
                  <a:noFill/>
                </a:ln>
                <a:solidFill>
                  <a:schemeClr val="accent6"/>
                </a:solidFill>
                <a:effectLst/>
                <a:uLnTx/>
                <a:uFillTx/>
                <a:latin typeface="Verdana" panose="020B0604030504040204" pitchFamily="34" charset="0"/>
                <a:ea typeface="Verdana" panose="020B0604030504040204" pitchFamily="34" charset="0"/>
                <a:cs typeface="Verdana" panose="020B0604030504040204" pitchFamily="34" charset="0"/>
              </a:rPr>
              <a:t>Yes</a:t>
            </a:r>
            <a:endParaRPr kumimoji="0" lang="en-US" sz="1200" b="1" i="0" u="none" strike="noStrike" kern="1200" cap="none" spc="0" normalizeH="0" baseline="0" noProof="0" dirty="0">
              <a:ln>
                <a:noFill/>
              </a:ln>
              <a:solidFill>
                <a:schemeClr val="accent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Flowchart: Process 13"/>
          <p:cNvSpPr/>
          <p:nvPr/>
        </p:nvSpPr>
        <p:spPr>
          <a:xfrm>
            <a:off x="8001000" y="2057400"/>
            <a:ext cx="14478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Decision for dimension table </a:t>
            </a:r>
            <a:endParaRPr lang="en-US" sz="1200" dirty="0"/>
          </a:p>
        </p:txBody>
      </p:sp>
      <p:cxnSp>
        <p:nvCxnSpPr>
          <p:cNvPr id="16" name="Elbow Connector 15"/>
          <p:cNvCxnSpPr>
            <a:stCxn id="27" idx="0"/>
            <a:endCxn id="14" idx="0"/>
          </p:cNvCxnSpPr>
          <p:nvPr/>
        </p:nvCxnSpPr>
        <p:spPr>
          <a:xfrm rot="16200000" flipH="1">
            <a:off x="6175644" y="-491855"/>
            <a:ext cx="346415" cy="4752095"/>
          </a:xfrm>
          <a:prstGeom prst="bentConnector3">
            <a:avLst>
              <a:gd name="adj1" fmla="val -65990"/>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172200" y="1298052"/>
            <a:ext cx="856851" cy="182486"/>
          </a:xfrm>
          <a:prstGeom prst="rect">
            <a:avLst/>
          </a:prstGeom>
          <a:noFill/>
        </p:spPr>
        <p:txBody>
          <a:bodyPr vert="horz" wrap="square" lIns="0" tIns="0" rIns="0" bIns="0" rtlCol="0" anchor="ctr">
            <a:noAutofit/>
          </a:bodyPr>
          <a:lstStyle/>
          <a:p>
            <a: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pPr>
            <a:r>
              <a:rPr kumimoji="0" lang="en-US" sz="1200" b="1" i="0" u="none" strike="noStrike" kern="1200" cap="none" spc="0" normalizeH="0" baseline="0" noProof="0" dirty="0" smtClean="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O</a:t>
            </a:r>
            <a:endParaRPr kumimoji="0" lang="en-US" sz="1200"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19" name="Straight Arrow Connector 18"/>
          <p:cNvCxnSpPr>
            <a:stCxn id="8" idx="3"/>
            <a:endCxn id="14" idx="1"/>
          </p:cNvCxnSpPr>
          <p:nvPr/>
        </p:nvCxnSpPr>
        <p:spPr>
          <a:xfrm>
            <a:off x="7162800" y="2552700"/>
            <a:ext cx="838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Flowchart: Process 19"/>
          <p:cNvSpPr/>
          <p:nvPr/>
        </p:nvSpPr>
        <p:spPr>
          <a:xfrm>
            <a:off x="10210800" y="2076137"/>
            <a:ext cx="1716549" cy="953126"/>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Make fact tables by logically using Dimension tables and the cleaned dataset together</a:t>
            </a:r>
            <a:endParaRPr lang="en-US" sz="1200" dirty="0"/>
          </a:p>
        </p:txBody>
      </p:sp>
      <p:cxnSp>
        <p:nvCxnSpPr>
          <p:cNvPr id="22" name="Straight Arrow Connector 21"/>
          <p:cNvCxnSpPr>
            <a:stCxn id="14" idx="3"/>
            <a:endCxn id="20" idx="1"/>
          </p:cNvCxnSpPr>
          <p:nvPr/>
        </p:nvCxnSpPr>
        <p:spPr>
          <a:xfrm>
            <a:off x="9448800" y="2552700"/>
            <a:ext cx="76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Flowchart: Process 23"/>
          <p:cNvSpPr/>
          <p:nvPr/>
        </p:nvSpPr>
        <p:spPr>
          <a:xfrm>
            <a:off x="10248899" y="3886200"/>
            <a:ext cx="1640349"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Load data into </a:t>
            </a:r>
            <a:r>
              <a:rPr lang="en-US" sz="1600" dirty="0" err="1" smtClean="0"/>
              <a:t>hdfs</a:t>
            </a:r>
            <a:endParaRPr lang="en-US" sz="1600" dirty="0"/>
          </a:p>
        </p:txBody>
      </p:sp>
      <p:sp>
        <p:nvSpPr>
          <p:cNvPr id="25" name="Flowchart: Process 24"/>
          <p:cNvSpPr/>
          <p:nvPr/>
        </p:nvSpPr>
        <p:spPr>
          <a:xfrm>
            <a:off x="7980926" y="3886200"/>
            <a:ext cx="14478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Create hive tables</a:t>
            </a:r>
            <a:endParaRPr lang="en-US" sz="1600" dirty="0"/>
          </a:p>
        </p:txBody>
      </p:sp>
      <p:sp>
        <p:nvSpPr>
          <p:cNvPr id="26" name="Flowchart: Process 25"/>
          <p:cNvSpPr/>
          <p:nvPr/>
        </p:nvSpPr>
        <p:spPr>
          <a:xfrm>
            <a:off x="5638800" y="3886201"/>
            <a:ext cx="15240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Load data into hive</a:t>
            </a:r>
            <a:endParaRPr lang="en-US" sz="1600" dirty="0"/>
          </a:p>
        </p:txBody>
      </p:sp>
      <p:sp>
        <p:nvSpPr>
          <p:cNvPr id="27" name="Diamond 26"/>
          <p:cNvSpPr/>
          <p:nvPr/>
        </p:nvSpPr>
        <p:spPr>
          <a:xfrm>
            <a:off x="3068810" y="1710985"/>
            <a:ext cx="1807989" cy="1683430"/>
          </a:xfrm>
          <a:prstGeom prst="diamond">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If there are duplicates and null values</a:t>
            </a:r>
          </a:p>
        </p:txBody>
      </p:sp>
      <p:sp>
        <p:nvSpPr>
          <p:cNvPr id="30" name="Rounded Rectangle 29"/>
          <p:cNvSpPr/>
          <p:nvPr/>
        </p:nvSpPr>
        <p:spPr>
          <a:xfrm>
            <a:off x="838200" y="1104900"/>
            <a:ext cx="1066800" cy="60608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Start</a:t>
            </a:r>
            <a:endParaRPr lang="en-US" dirty="0"/>
          </a:p>
        </p:txBody>
      </p:sp>
      <p:sp>
        <p:nvSpPr>
          <p:cNvPr id="31" name="Rounded Rectangle 30"/>
          <p:cNvSpPr/>
          <p:nvPr/>
        </p:nvSpPr>
        <p:spPr>
          <a:xfrm>
            <a:off x="1371600" y="4078458"/>
            <a:ext cx="1066800" cy="60608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t>Data ready for analysis</a:t>
            </a:r>
            <a:endParaRPr lang="en-US" sz="1200" dirty="0"/>
          </a:p>
        </p:txBody>
      </p:sp>
      <p:cxnSp>
        <p:nvCxnSpPr>
          <p:cNvPr id="33" name="Straight Arrow Connector 32"/>
          <p:cNvCxnSpPr>
            <a:stCxn id="20" idx="2"/>
            <a:endCxn id="24" idx="0"/>
          </p:cNvCxnSpPr>
          <p:nvPr/>
        </p:nvCxnSpPr>
        <p:spPr>
          <a:xfrm flipH="1">
            <a:off x="11069074" y="3029263"/>
            <a:ext cx="1" cy="8569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24" idx="1"/>
            <a:endCxn id="25" idx="3"/>
          </p:cNvCxnSpPr>
          <p:nvPr/>
        </p:nvCxnSpPr>
        <p:spPr>
          <a:xfrm flipH="1">
            <a:off x="9428726" y="4381500"/>
            <a:ext cx="82017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5" idx="1"/>
            <a:endCxn id="26" idx="3"/>
          </p:cNvCxnSpPr>
          <p:nvPr/>
        </p:nvCxnSpPr>
        <p:spPr>
          <a:xfrm flipH="1">
            <a:off x="7162800" y="4381500"/>
            <a:ext cx="81812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Flowchart: Process 42"/>
          <p:cNvSpPr/>
          <p:nvPr/>
        </p:nvSpPr>
        <p:spPr>
          <a:xfrm>
            <a:off x="3391002" y="3886200"/>
            <a:ext cx="1524000" cy="990600"/>
          </a:xfrm>
          <a:prstGeom prst="flowChart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smtClean="0"/>
              <a:t>Back up data into </a:t>
            </a:r>
            <a:r>
              <a:rPr lang="en-US" sz="1600" dirty="0" err="1" smtClean="0"/>
              <a:t>MySql</a:t>
            </a:r>
            <a:r>
              <a:rPr lang="en-US" sz="1600" dirty="0" smtClean="0"/>
              <a:t> using </a:t>
            </a:r>
            <a:r>
              <a:rPr lang="en-US" sz="1600" dirty="0" err="1"/>
              <a:t>S</a:t>
            </a:r>
            <a:r>
              <a:rPr lang="en-US" sz="1600" dirty="0" err="1" smtClean="0"/>
              <a:t>qoop</a:t>
            </a:r>
            <a:endParaRPr lang="en-US" sz="1600" dirty="0"/>
          </a:p>
        </p:txBody>
      </p:sp>
      <p:cxnSp>
        <p:nvCxnSpPr>
          <p:cNvPr id="45" name="Straight Arrow Connector 44"/>
          <p:cNvCxnSpPr>
            <a:stCxn id="26" idx="1"/>
            <a:endCxn id="43" idx="3"/>
          </p:cNvCxnSpPr>
          <p:nvPr/>
        </p:nvCxnSpPr>
        <p:spPr>
          <a:xfrm flipH="1" flipV="1">
            <a:off x="4915002" y="4381500"/>
            <a:ext cx="723798"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43" idx="1"/>
            <a:endCxn id="31" idx="3"/>
          </p:cNvCxnSpPr>
          <p:nvPr/>
        </p:nvCxnSpPr>
        <p:spPr>
          <a:xfrm flipH="1">
            <a:off x="2438400" y="4381500"/>
            <a:ext cx="95260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30" idx="2"/>
            <a:endCxn id="5" idx="0"/>
          </p:cNvCxnSpPr>
          <p:nvPr/>
        </p:nvCxnSpPr>
        <p:spPr>
          <a:xfrm>
            <a:off x="1371600" y="1710984"/>
            <a:ext cx="0" cy="3276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15973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a:t>Title</a:t>
            </a:r>
            <a:br>
              <a:rPr lang="en-US"/>
            </a:br>
            <a:r>
              <a:rPr lang="en-US"/>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endParaRPr lang="en-US" dirty="0"/>
          </a:p>
          <a:p>
            <a:endParaRPr lang="en-GB"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a:t>Subtitl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3"/>
          </p:nvPr>
        </p:nvSpPr>
        <p:spPr/>
        <p:txBody>
          <a:bodyPr/>
          <a:lstStyle/>
          <a:p>
            <a:r>
              <a:rPr lang="en-GB" dirty="0"/>
              <a:t>Header</a:t>
            </a:r>
          </a:p>
        </p:txBody>
      </p:sp>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94"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Oval 20">
            <a:extLst>
              <a:ext uri="{FF2B5EF4-FFF2-40B4-BE49-F238E27FC236}">
                <a16:creationId xmlns:a16="http://schemas.microsoft.com/office/drawing/2014/main" xmlns="" id="{ADB39E78-E9B7-40CD-9999-E8302C610DC2}"/>
              </a:ext>
            </a:extLst>
          </p:cNvPr>
          <p:cNvSpPr/>
          <p:nvPr/>
        </p:nvSpPr>
        <p:spPr>
          <a:xfrm>
            <a:off x="5563594"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Oval 20">
            <a:extLst>
              <a:ext uri="{FF2B5EF4-FFF2-40B4-BE49-F238E27FC236}">
                <a16:creationId xmlns:a16="http://schemas.microsoft.com/office/drawing/2014/main" xmlns="" id="{80DEC651-0810-4FD4-A2CA-C54974433D45}"/>
              </a:ext>
            </a:extLst>
          </p:cNvPr>
          <p:cNvSpPr/>
          <p:nvPr/>
        </p:nvSpPr>
        <p:spPr>
          <a:xfrm>
            <a:off x="5563595"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Oval 20">
            <a:extLst>
              <a:ext uri="{FF2B5EF4-FFF2-40B4-BE49-F238E27FC236}">
                <a16:creationId xmlns:a16="http://schemas.microsoft.com/office/drawing/2014/main" xmlns="" id="{4F0142AD-298C-4A60-9F24-035D4F3F07D0}"/>
              </a:ext>
            </a:extLst>
          </p:cNvPr>
          <p:cNvSpPr/>
          <p:nvPr/>
        </p:nvSpPr>
        <p:spPr>
          <a:xfrm>
            <a:off x="5516146"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Title 5"/>
          <p:cNvSpPr>
            <a:spLocks noGrp="1"/>
          </p:cNvSpPr>
          <p:nvPr>
            <p:ph type="title"/>
          </p:nvPr>
        </p:nvSpPr>
        <p:spPr/>
        <p:txBody>
          <a:bodyPr/>
          <a:lstStyle/>
          <a:p>
            <a:r>
              <a:rPr lang="en-US"/>
              <a:t>Title</a:t>
            </a:r>
            <a:br>
              <a:rPr lang="en-US"/>
            </a:br>
            <a:r>
              <a:rPr lang="en-US"/>
              <a:t>(Can be one </a:t>
            </a:r>
            <a:br>
              <a:rPr lang="en-US"/>
            </a:br>
            <a:r>
              <a:rPr lang="en-US"/>
              <a:t>or two lines)</a:t>
            </a:r>
            <a:endParaRPr lang="en-GB" dirty="0"/>
          </a:p>
        </p:txBody>
      </p:sp>
      <p:sp>
        <p:nvSpPr>
          <p:cNvPr id="16" name="Text Placeholder 15"/>
          <p:cNvSpPr>
            <a:spLocks noGrp="1"/>
          </p:cNvSpPr>
          <p:nvPr>
            <p:ph type="body" sz="quarter" idx="38"/>
          </p:nvPr>
        </p:nvSpPr>
        <p:spPr/>
        <p:txBody>
          <a:bodyPr/>
          <a:lstStyle/>
          <a:p>
            <a:r>
              <a:rPr lang="pt-PT"/>
              <a:t>Click to insert text</a:t>
            </a:r>
            <a:endParaRPr lang="pt-PT" dirty="0"/>
          </a:p>
        </p:txBody>
      </p:sp>
      <p:sp>
        <p:nvSpPr>
          <p:cNvPr id="7" name="Text Placeholder 6"/>
          <p:cNvSpPr>
            <a:spLocks noGrp="1"/>
          </p:cNvSpPr>
          <p:nvPr>
            <p:ph type="body" sz="quarter" idx="29"/>
          </p:nvPr>
        </p:nvSpPr>
        <p:spPr/>
        <p:txBody>
          <a:bodyPr/>
          <a:lstStyle/>
          <a:p>
            <a:pPr lvl="0"/>
            <a:r>
              <a:rPr lang="en-US"/>
              <a:t>Click to insert title</a:t>
            </a:r>
            <a:endParaRPr lang="en-US" dirty="0"/>
          </a:p>
        </p:txBody>
      </p:sp>
      <p:sp>
        <p:nvSpPr>
          <p:cNvPr id="8" name="Text Placeholder 7"/>
          <p:cNvSpPr>
            <a:spLocks noGrp="1"/>
          </p:cNvSpPr>
          <p:nvPr>
            <p:ph type="body" sz="quarter" idx="30"/>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9" name="Text Placeholder 8"/>
          <p:cNvSpPr>
            <a:spLocks noGrp="1"/>
          </p:cNvSpPr>
          <p:nvPr>
            <p:ph type="body" sz="quarter" idx="31"/>
          </p:nvPr>
        </p:nvSpPr>
        <p:spPr/>
        <p:txBody>
          <a:bodyPr/>
          <a:lstStyle/>
          <a:p>
            <a:pPr lvl="0"/>
            <a:r>
              <a:rPr lang="en-US"/>
              <a:t>Click to insert title</a:t>
            </a:r>
            <a:endParaRPr lang="en-US" dirty="0"/>
          </a:p>
        </p:txBody>
      </p:sp>
      <p:sp>
        <p:nvSpPr>
          <p:cNvPr id="10" name="Text Placeholder 9"/>
          <p:cNvSpPr>
            <a:spLocks noGrp="1"/>
          </p:cNvSpPr>
          <p:nvPr>
            <p:ph type="body" sz="quarter" idx="32"/>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11" name="Text Placeholder 10"/>
          <p:cNvSpPr>
            <a:spLocks noGrp="1"/>
          </p:cNvSpPr>
          <p:nvPr>
            <p:ph type="body" sz="quarter" idx="33"/>
          </p:nvPr>
        </p:nvSpPr>
        <p:spPr/>
        <p:txBody>
          <a:bodyPr/>
          <a:lstStyle/>
          <a:p>
            <a:pPr lvl="0"/>
            <a:r>
              <a:rPr lang="en-US" dirty="0"/>
              <a:t>Click to insert title</a:t>
            </a:r>
          </a:p>
        </p:txBody>
      </p:sp>
      <p:sp>
        <p:nvSpPr>
          <p:cNvPr id="12" name="Text Placeholder 11"/>
          <p:cNvSpPr>
            <a:spLocks noGrp="1"/>
          </p:cNvSpPr>
          <p:nvPr>
            <p:ph type="body" sz="quarter" idx="34"/>
          </p:nvPr>
        </p:nvSpPr>
        <p:spPr/>
        <p:txBody>
          <a:bodyPr/>
          <a:lstStyle/>
          <a:p>
            <a:pPr marL="179388" lvl="1"/>
            <a:r>
              <a:rPr lang="en-US" dirty="0"/>
              <a:t>Click to insert bullet point</a:t>
            </a:r>
          </a:p>
          <a:p>
            <a:pPr marL="179388" lvl="1"/>
            <a:r>
              <a:rPr lang="en-US" dirty="0"/>
              <a:t>Click to insert bullet point</a:t>
            </a:r>
          </a:p>
          <a:p>
            <a:pPr marL="179388" lvl="1"/>
            <a:r>
              <a:rPr lang="en-US" dirty="0"/>
              <a:t>Click to insert bullet point</a:t>
            </a:r>
          </a:p>
          <a:p>
            <a:pPr marL="179388" lvl="1"/>
            <a:endParaRPr lang="en-GB" dirty="0"/>
          </a:p>
        </p:txBody>
      </p:sp>
      <p:sp>
        <p:nvSpPr>
          <p:cNvPr id="13" name="Text Placeholder 12"/>
          <p:cNvSpPr>
            <a:spLocks noGrp="1"/>
          </p:cNvSpPr>
          <p:nvPr>
            <p:ph type="body" sz="quarter" idx="35"/>
          </p:nvPr>
        </p:nvSpPr>
        <p:spPr/>
        <p:txBody>
          <a:bodyPr/>
          <a:lstStyle/>
          <a:p>
            <a:r>
              <a:rPr lang="en-GB"/>
              <a:t>01</a:t>
            </a:r>
            <a:endParaRPr lang="en-GB" dirty="0"/>
          </a:p>
        </p:txBody>
      </p:sp>
      <p:sp>
        <p:nvSpPr>
          <p:cNvPr id="14" name="Text Placeholder 13"/>
          <p:cNvSpPr>
            <a:spLocks noGrp="1"/>
          </p:cNvSpPr>
          <p:nvPr>
            <p:ph type="body" sz="quarter" idx="36"/>
          </p:nvPr>
        </p:nvSpPr>
        <p:spPr/>
        <p:txBody>
          <a:bodyPr/>
          <a:lstStyle/>
          <a:p>
            <a:r>
              <a:rPr lang="en-GB"/>
              <a:t>02</a:t>
            </a:r>
            <a:endParaRPr lang="en-GB" dirty="0"/>
          </a:p>
        </p:txBody>
      </p:sp>
      <p:sp>
        <p:nvSpPr>
          <p:cNvPr id="15" name="Text Placeholder 14"/>
          <p:cNvSpPr>
            <a:spLocks noGrp="1"/>
          </p:cNvSpPr>
          <p:nvPr>
            <p:ph type="body" sz="quarter" idx="37"/>
          </p:nvPr>
        </p:nvSpPr>
        <p:spPr/>
        <p:txBody>
          <a:bodyPr/>
          <a:lstStyle/>
          <a:p>
            <a:r>
              <a:rPr lang="en-GB"/>
              <a:t>03</a:t>
            </a:r>
            <a:endParaRPr lang="en-GB" dirty="0"/>
          </a:p>
        </p:txBody>
      </p:sp>
    </p:spTree>
    <p:extLst>
      <p:ext uri="{BB962C8B-B14F-4D97-AF65-F5344CB8AC3E}">
        <p14:creationId xmlns:p14="http://schemas.microsoft.com/office/powerpoint/2010/main" val="2200284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45</TotalTime>
  <Words>995</Words>
  <Application>Microsoft Office PowerPoint</Application>
  <PresentationFormat>Widescreen</PresentationFormat>
  <Paragraphs>441</Paragraphs>
  <Slides>33</Slides>
  <Notes>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3" baseType="lpstr">
      <vt:lpstr>Arial</vt:lpstr>
      <vt:lpstr>Calibri</vt:lpstr>
      <vt:lpstr>Georgia</vt:lpstr>
      <vt:lpstr>Verdana</vt:lpstr>
      <vt:lpstr>Wingdings</vt:lpstr>
      <vt:lpstr>Capgemini Master</vt:lpstr>
      <vt:lpstr>Section break</vt:lpstr>
      <vt:lpstr>Cover options</vt:lpstr>
      <vt:lpstr>Final slides</vt:lpstr>
      <vt:lpstr>think-cell Slide</vt:lpstr>
      <vt:lpstr>PowerPoint Presentation</vt:lpstr>
      <vt:lpstr>Title of the presentation 2 lines</vt:lpstr>
      <vt:lpstr>Title of the presentation 2 lines</vt:lpstr>
      <vt:lpstr>Workflow</vt:lpstr>
      <vt:lpstr>Title (Work for 1 or 2 lines of title)</vt:lpstr>
      <vt:lpstr>Title (Work for 1 or 2 lines of title)</vt:lpstr>
      <vt:lpstr>Title (Work for 1 or 2 lines of title)</vt:lpstr>
      <vt:lpstr>Title (Work for 1 or 2 lines of title)</vt:lpstr>
      <vt:lpstr>Title (Can be one  or two lines)</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PowerPoint Presentation</vt:lpstr>
      <vt:lpstr>Title</vt:lpstr>
      <vt:lpstr>Title (Work for 1 or 2 lines of title)</vt:lpstr>
      <vt:lpstr>Title (Work for 1 or 2 lines of title)</vt:lpstr>
      <vt:lpstr>Title (Work for 1 or 2 lines of title)</vt:lpstr>
      <vt:lpstr>Title (Work for 1 or 2 lines of title)</vt:lpstr>
      <vt:lpstr>Title (Work for 1 or 2 lines of title)</vt:lpstr>
      <vt:lpstr>Click to insert title</vt:lpstr>
      <vt:lpstr>PowerPoint Presentation</vt:lpstr>
      <vt:lpstr>PowerPoint Presentation</vt:lpstr>
      <vt:lpstr>PowerPoint Presentation</vt:lpstr>
      <vt:lpstr>PowerPoint Presentation</vt:lpstr>
      <vt:lpstr>PowerPoint Presentation</vt:lpstr>
      <vt:lpstr>Icons examples</vt:lpstr>
      <vt:lpstr>Graphic elements</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Pandey, Ayush</dc:creator>
  <cp:lastModifiedBy>Pandey, Ayush</cp:lastModifiedBy>
  <cp:revision>7</cp:revision>
  <dcterms:created xsi:type="dcterms:W3CDTF">2019-09-24T10:48:08Z</dcterms:created>
  <dcterms:modified xsi:type="dcterms:W3CDTF">2019-09-24T11:33:14Z</dcterms:modified>
</cp:coreProperties>
</file>